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5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7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8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0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11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2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13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4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5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6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7.xml" ContentType="application/vnd.openxmlformats-officedocument.theme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8.xml" ContentType="application/vnd.openxmlformats-officedocument.theme+xml"/>
  <Override PartName="/ppt/slideLayouts/slideLayout163.xml" ContentType="application/vnd.openxmlformats-officedocument.presentationml.slideLayout+xml"/>
  <Override PartName="/ppt/theme/theme19.xml" ContentType="application/vnd.openxmlformats-officedocument.theme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20.xml" ContentType="application/vnd.openxmlformats-officedocument.theme+xml"/>
  <Override PartName="/ppt/slideLayouts/slideLayout166.xml" ContentType="application/vnd.openxmlformats-officedocument.presentationml.slideLayout+xml"/>
  <Override PartName="/ppt/theme/theme21.xml" ContentType="application/vnd.openxmlformats-officedocument.them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22.xml" ContentType="application/vnd.openxmlformats-officedocument.theme+xml"/>
  <Override PartName="/ppt/slideLayouts/slideLayout169.xml" ContentType="application/vnd.openxmlformats-officedocument.presentationml.slideLayout+xml"/>
  <Override PartName="/ppt/theme/theme23.xml" ContentType="application/vnd.openxmlformats-officedocument.theme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24.xml" ContentType="application/vnd.openxmlformats-officedocument.theme+xml"/>
  <Override PartName="/ppt/slideLayouts/slideLayout172.xml" ContentType="application/vnd.openxmlformats-officedocument.presentationml.slideLayout+xml"/>
  <Override PartName="/ppt/theme/theme25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26.xml" ContentType="application/vnd.openxmlformats-officedocument.theme+xml"/>
  <Override PartName="/ppt/slideLayouts/slideLayout175.xml" ContentType="application/vnd.openxmlformats-officedocument.presentationml.slideLayout+xml"/>
  <Override PartName="/ppt/theme/theme27.xml" ContentType="application/vnd.openxmlformats-officedocument.theme+xml"/>
  <Override PartName="/ppt/slideLayouts/slideLayout176.xml" ContentType="application/vnd.openxmlformats-officedocument.presentationml.slideLayout+xml"/>
  <Override PartName="/ppt/theme/theme28.xml" ContentType="application/vnd.openxmlformats-officedocument.theme+xml"/>
  <Override PartName="/ppt/slideLayouts/slideLayout177.xml" ContentType="application/vnd.openxmlformats-officedocument.presentationml.slideLayout+xml"/>
  <Override PartName="/ppt/theme/theme29.xml" ContentType="application/vnd.openxmlformats-officedocument.theme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30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31.xml" ContentType="application/vnd.openxmlformats-officedocument.theme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32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33.xml" ContentType="application/vnd.openxmlformats-officedocument.theme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34.xml" ContentType="application/vnd.openxmlformats-officedocument.theme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35.xml" ContentType="application/vnd.openxmlformats-officedocument.theme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theme/theme36.xml" ContentType="application/vnd.openxmlformats-officedocument.theme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heme/theme37.xml" ContentType="application/vnd.openxmlformats-officedocument.theme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heme/theme38.xml" ContentType="application/vnd.openxmlformats-officedocument.theme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39.xml" ContentType="application/vnd.openxmlformats-officedocument.theme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theme/theme40.xml" ContentType="application/vnd.openxmlformats-officedocument.theme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theme/theme41.xml" ContentType="application/vnd.openxmlformats-officedocument.theme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theme/theme42.xml" ContentType="application/vnd.openxmlformats-officedocument.theme+xml"/>
  <Override PartName="/ppt/slideLayouts/slideLayout321.xml" ContentType="application/vnd.openxmlformats-officedocument.presentationml.slideLayout+xml"/>
  <Override PartName="/ppt/theme/theme43.xml" ContentType="application/vnd.openxmlformats-officedocument.theme+xml"/>
  <Override PartName="/ppt/slideLayouts/slideLayout322.xml" ContentType="application/vnd.openxmlformats-officedocument.presentationml.slideLayout+xml"/>
  <Override PartName="/ppt/theme/theme44.xml" ContentType="application/vnd.openxmlformats-officedocument.theme+xml"/>
  <Override PartName="/ppt/theme/theme45.xml" ContentType="application/vnd.openxmlformats-officedocument.theme+xml"/>
  <Override PartName="/ppt/theme/theme4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  <p:sldMasterId id="2147483685" r:id="rId2"/>
    <p:sldMasterId id="2147483705" r:id="rId3"/>
    <p:sldMasterId id="2147483715" r:id="rId4"/>
    <p:sldMasterId id="2147483716" r:id="rId5"/>
    <p:sldMasterId id="2147483717" r:id="rId6"/>
    <p:sldMasterId id="2147483718" r:id="rId7"/>
    <p:sldMasterId id="2147483719" r:id="rId8"/>
    <p:sldMasterId id="2147483720" r:id="rId9"/>
    <p:sldMasterId id="2147483721" r:id="rId10"/>
    <p:sldMasterId id="2147483722" r:id="rId11"/>
    <p:sldMasterId id="2147483723" r:id="rId12"/>
    <p:sldMasterId id="2147483724" r:id="rId13"/>
    <p:sldMasterId id="2147483725" r:id="rId14"/>
    <p:sldMasterId id="2147483726" r:id="rId15"/>
    <p:sldMasterId id="2147483727" r:id="rId16"/>
    <p:sldMasterId id="2147483728" r:id="rId17"/>
    <p:sldMasterId id="2147483661" r:id="rId18"/>
    <p:sldMasterId id="2147483701" r:id="rId19"/>
    <p:sldMasterId id="2147483664" r:id="rId20"/>
    <p:sldMasterId id="2147483699" r:id="rId21"/>
    <p:sldMasterId id="2147483666" r:id="rId22"/>
    <p:sldMasterId id="2147483697" r:id="rId23"/>
    <p:sldMasterId id="2147483668" r:id="rId24"/>
    <p:sldMasterId id="2147483695" r:id="rId25"/>
    <p:sldMasterId id="2147483670" r:id="rId26"/>
    <p:sldMasterId id="2147483693" r:id="rId27"/>
    <p:sldMasterId id="2147483681" r:id="rId28"/>
    <p:sldMasterId id="2147483689" r:id="rId29"/>
    <p:sldMasterId id="2147483730" r:id="rId30"/>
    <p:sldMasterId id="2147483731" r:id="rId31"/>
    <p:sldMasterId id="2147483732" r:id="rId32"/>
    <p:sldMasterId id="2147483733" r:id="rId33"/>
    <p:sldMasterId id="2147483734" r:id="rId34"/>
    <p:sldMasterId id="2147483729" r:id="rId35"/>
    <p:sldMasterId id="2147483735" r:id="rId36"/>
    <p:sldMasterId id="2147483736" r:id="rId37"/>
    <p:sldMasterId id="2147483739" r:id="rId38"/>
    <p:sldMasterId id="2147483740" r:id="rId39"/>
    <p:sldMasterId id="2147483741" r:id="rId40"/>
    <p:sldMasterId id="2147483742" r:id="rId41"/>
    <p:sldMasterId id="2147483747" r:id="rId42"/>
    <p:sldMasterId id="2147484074" r:id="rId43"/>
    <p:sldMasterId id="2147484081" r:id="rId44"/>
  </p:sldMasterIdLst>
  <p:notesMasterIdLst>
    <p:notesMasterId r:id="rId58"/>
  </p:notesMasterIdLst>
  <p:handoutMasterIdLst>
    <p:handoutMasterId r:id="rId59"/>
  </p:handoutMasterIdLst>
  <p:sldIdLst>
    <p:sldId id="415" r:id="rId45"/>
    <p:sldId id="416" r:id="rId46"/>
    <p:sldId id="448" r:id="rId47"/>
    <p:sldId id="449" r:id="rId48"/>
    <p:sldId id="452" r:id="rId49"/>
    <p:sldId id="450" r:id="rId50"/>
    <p:sldId id="417" r:id="rId51"/>
    <p:sldId id="440" r:id="rId52"/>
    <p:sldId id="455" r:id="rId53"/>
    <p:sldId id="419" r:id="rId54"/>
    <p:sldId id="420" r:id="rId55"/>
    <p:sldId id="454" r:id="rId56"/>
    <p:sldId id="453" r:id="rId57"/>
  </p:sldIdLst>
  <p:sldSz cx="9144000" cy="6858000" type="screen4x3"/>
  <p:notesSz cx="6819900" cy="9918700"/>
  <p:defaultTextStyle>
    <a:defPPr>
      <a:defRPr lang="pl-P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4" userDrawn="1">
          <p15:clr>
            <a:srgbClr val="A4A3A4"/>
          </p15:clr>
        </p15:guide>
        <p15:guide id="2" pos="214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gdalena Kochanowska" initials="MK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1C5C"/>
    <a:srgbClr val="5564D3"/>
    <a:srgbClr val="11897D"/>
    <a:srgbClr val="2A3990"/>
    <a:srgbClr val="4D4D4D"/>
    <a:srgbClr val="0F0102"/>
    <a:srgbClr val="D98027"/>
    <a:srgbClr val="808080"/>
    <a:srgbClr val="E740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 pośredni 2 — Ak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2615" autoAdjust="0"/>
    <p:restoredTop sz="94668" autoAdjust="0"/>
  </p:normalViewPr>
  <p:slideViewPr>
    <p:cSldViewPr>
      <p:cViewPr varScale="1">
        <p:scale>
          <a:sx n="126" d="100"/>
          <a:sy n="126" d="100"/>
        </p:scale>
        <p:origin x="-1182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5" d="100"/>
        <a:sy n="85" d="100"/>
      </p:scale>
      <p:origin x="0" y="0"/>
    </p:cViewPr>
  </p:sorterViewPr>
  <p:notesViewPr>
    <p:cSldViewPr>
      <p:cViewPr varScale="1">
        <p:scale>
          <a:sx n="57" d="100"/>
          <a:sy n="57" d="100"/>
        </p:scale>
        <p:origin x="-2508" y="-84"/>
      </p:cViewPr>
      <p:guideLst>
        <p:guide orient="horz" pos="3124"/>
        <p:guide pos="214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Master" Target="slideMasters/slideMaster39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slideMaster" Target="slideMasters/slideMaster42.xml"/><Relationship Id="rId47" Type="http://schemas.openxmlformats.org/officeDocument/2006/relationships/slide" Target="slides/slide3.xml"/><Relationship Id="rId50" Type="http://schemas.openxmlformats.org/officeDocument/2006/relationships/slide" Target="slides/slide6.xml"/><Relationship Id="rId55" Type="http://schemas.openxmlformats.org/officeDocument/2006/relationships/slide" Target="slides/slide11.xml"/><Relationship Id="rId63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openxmlformats.org/officeDocument/2006/relationships/slideMaster" Target="slideMasters/slideMaster41.xml"/><Relationship Id="rId54" Type="http://schemas.openxmlformats.org/officeDocument/2006/relationships/slide" Target="slides/slide10.xml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slideMaster" Target="slideMasters/slideMaster40.xml"/><Relationship Id="rId45" Type="http://schemas.openxmlformats.org/officeDocument/2006/relationships/slide" Target="slides/slide1.xml"/><Relationship Id="rId53" Type="http://schemas.openxmlformats.org/officeDocument/2006/relationships/slide" Target="slides/slide9.xml"/><Relationship Id="rId58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" Target="slides/slide5.xml"/><Relationship Id="rId57" Type="http://schemas.openxmlformats.org/officeDocument/2006/relationships/slide" Target="slides/slide13.xml"/><Relationship Id="rId61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openxmlformats.org/officeDocument/2006/relationships/slideMaster" Target="slideMasters/slideMaster44.xml"/><Relationship Id="rId52" Type="http://schemas.openxmlformats.org/officeDocument/2006/relationships/slide" Target="slides/slide8.xml"/><Relationship Id="rId60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Master" Target="slideMasters/slideMaster43.xml"/><Relationship Id="rId48" Type="http://schemas.openxmlformats.org/officeDocument/2006/relationships/slide" Target="slides/slide4.xml"/><Relationship Id="rId56" Type="http://schemas.openxmlformats.org/officeDocument/2006/relationships/slide" Target="slides/slide12.xml"/><Relationship Id="rId64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7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" Target="slides/slide2.xml"/><Relationship Id="rId59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6033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3862275" y="0"/>
            <a:ext cx="2956033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7133841C-1D41-4C64-A4B9-AFA77302E20F}" type="datetimeFigureOut">
              <a:rPr lang="pl-PL"/>
              <a:pPr>
                <a:defRPr/>
              </a:pPr>
              <a:t>2019-03-28</a:t>
            </a:fld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0" y="9420624"/>
            <a:ext cx="2956033" cy="496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3862275" y="9420624"/>
            <a:ext cx="2956033" cy="496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B008C14-C066-4262-8DF9-72A5EB355475}" type="slidenum">
              <a:rPr lang="pl-PL"/>
              <a:pPr>
                <a:defRPr/>
              </a:pPr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282789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6033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62275" y="0"/>
            <a:ext cx="2956033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C4E1357-CCDE-41B1-A2C8-8727157000AD}" type="datetimeFigureOut">
              <a:rPr lang="pl-PL"/>
              <a:pPr>
                <a:defRPr/>
              </a:pPr>
              <a:t>2019-03-28</a:t>
            </a:fld>
            <a:endParaRPr lang="pl-PL" dirty="0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44538"/>
            <a:ext cx="4959350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l-PL" noProof="0" dirty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1672" y="4711105"/>
            <a:ext cx="5456557" cy="446365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420624"/>
            <a:ext cx="2956033" cy="496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62275" y="9420624"/>
            <a:ext cx="2956033" cy="496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402381B-77C1-47E8-AA95-561A59933F40}" type="slidenum">
              <a:rPr lang="pl-PL"/>
              <a:pPr>
                <a:defRPr/>
              </a:pPr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21854238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402381B-77C1-47E8-AA95-561A59933F40}" type="slidenum">
              <a:rPr lang="pl-PL" smtClean="0"/>
              <a:pPr>
                <a:defRPr/>
              </a:pPr>
              <a:t>12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552413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8.png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11.png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2.xml"/><Relationship Id="rId4" Type="http://schemas.openxmlformats.org/officeDocument/2006/relationships/image" Target="../media/image14.png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4.xml"/><Relationship Id="rId4" Type="http://schemas.openxmlformats.org/officeDocument/2006/relationships/image" Target="../media/image17.png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6.xml"/><Relationship Id="rId4" Type="http://schemas.openxmlformats.org/officeDocument/2006/relationships/image" Target="../media/image20.png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3.xml"/><Relationship Id="rId4" Type="http://schemas.openxmlformats.org/officeDocument/2006/relationships/image" Target="../media/image44.png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4.xml"/><Relationship Id="rId4" Type="http://schemas.openxmlformats.org/officeDocument/2006/relationships/image" Target="../media/image47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3985317748"/>
      </p:ext>
    </p:extLst>
  </p:cSld>
  <p:clrMapOvr>
    <a:masterClrMapping/>
  </p:clrMapOvr>
  <p:hf sldNum="0"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5464753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1635605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475058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8066747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52628893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01673244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10212991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/>
              <a:t>Kliknij, aby edytować styl wzorca podtytułu</a:t>
            </a:r>
          </a:p>
        </p:txBody>
      </p:sp>
    </p:spTree>
    <p:extLst>
      <p:ext uri="{BB962C8B-B14F-4D97-AF65-F5344CB8AC3E}">
        <p14:creationId xmlns:p14="http://schemas.microsoft.com/office/powerpoint/2010/main" val="102404797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27583908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18265002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4697891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86163262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621132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239562494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733050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6979748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63520350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408013317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47540090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/>
              <a:t>Kliknij, aby edytować styl wzorca podtytułu</a:t>
            </a:r>
          </a:p>
        </p:txBody>
      </p:sp>
    </p:spTree>
    <p:extLst>
      <p:ext uri="{BB962C8B-B14F-4D97-AF65-F5344CB8AC3E}">
        <p14:creationId xmlns:p14="http://schemas.microsoft.com/office/powerpoint/2010/main" val="96355806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82608857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138859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217578614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12190558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19913443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238818593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387388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13007597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04439478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23585483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97073034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/>
              <a:t>Kliknij, aby edytować styl wzorca podtytułu</a:t>
            </a:r>
          </a:p>
        </p:txBody>
      </p:sp>
    </p:spTree>
    <p:extLst>
      <p:ext uri="{BB962C8B-B14F-4D97-AF65-F5344CB8AC3E}">
        <p14:creationId xmlns:p14="http://schemas.microsoft.com/office/powerpoint/2010/main" val="155243546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0246152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740656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8561046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00270611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500627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85681855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497151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10156449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79621906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98741811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4025704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/>
              <a:t>Kliknij, aby edytować styl wzorca podtytułu</a:t>
            </a:r>
          </a:p>
        </p:txBody>
      </p:sp>
    </p:spTree>
    <p:extLst>
      <p:ext uri="{BB962C8B-B14F-4D97-AF65-F5344CB8AC3E}">
        <p14:creationId xmlns:p14="http://schemas.microsoft.com/office/powerpoint/2010/main" val="4756548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72682591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84445947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76704102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72914688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73303497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271091678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383795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12294753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951034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36078845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5448724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0350127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/>
              <a:t>Kliknij, aby edytować styl wzorca podtytułu</a:t>
            </a:r>
          </a:p>
        </p:txBody>
      </p:sp>
    </p:spTree>
    <p:extLst>
      <p:ext uri="{BB962C8B-B14F-4D97-AF65-F5344CB8AC3E}">
        <p14:creationId xmlns:p14="http://schemas.microsoft.com/office/powerpoint/2010/main" val="122183361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0194710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94744412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27912371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4856948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251990215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007330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10119528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35369312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5927451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87461614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83441353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252791947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ramka_slajd pomarańcz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7900" cy="630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6BB54CF6-2CF0-4224-B416-6AACF3A0D2B4}" type="slidenum">
              <a:rPr lang="pl-PL" sz="1200" b="1" smtClean="0">
                <a:solidFill>
                  <a:srgbClr val="F36B23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>
              <a:solidFill>
                <a:srgbClr val="F36B23"/>
              </a:solidFill>
            </a:endParaRPr>
          </a:p>
        </p:txBody>
      </p:sp>
      <p:sp>
        <p:nvSpPr>
          <p:cNvPr id="3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692150"/>
            <a:ext cx="7272288" cy="79216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F36B2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4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43212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F36B2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F36B23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03950857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341624777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226873157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ramka_slajd żółt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7900" cy="630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CC53F964-D04E-4997-A598-90338271AE1C}" type="slidenum">
              <a:rPr lang="pl-PL" sz="1200" b="1" smtClean="0">
                <a:solidFill>
                  <a:srgbClr val="FCB319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>
              <a:solidFill>
                <a:srgbClr val="FCB319"/>
              </a:solidFill>
            </a:endParaRPr>
          </a:p>
        </p:txBody>
      </p:sp>
      <p:pic>
        <p:nvPicPr>
          <p:cNvPr id="7" name="Picture 3" descr="kreska pionow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692150"/>
            <a:ext cx="7272288" cy="79216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FCB31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4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43212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FCB31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FCB319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02330561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379141618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74644097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ramka_slajd róż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7900" cy="630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kreska pionow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4541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D9111DD2-DF12-4789-A2A1-BC6CF59B69ED}" type="slidenum">
              <a:rPr lang="pl-PL" sz="1200" b="1" smtClean="0">
                <a:solidFill>
                  <a:srgbClr val="EF5594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>
              <a:solidFill>
                <a:srgbClr val="EF5594"/>
              </a:solidFill>
            </a:endParaRPr>
          </a:p>
        </p:txBody>
      </p:sp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0"/>
            <a:ext cx="7272288" cy="792087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EF559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60040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EF559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EF5594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49029302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3065833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63283342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230648418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amka_slajd fiolet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60350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495425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378EF192-3813-4F61-9396-6AF9E2A1F78D}" type="slidenum">
              <a:rPr lang="pl-PL" sz="1200" b="1" smtClean="0">
                <a:solidFill>
                  <a:srgbClr val="424CA0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>
              <a:solidFill>
                <a:srgbClr val="424CA0"/>
              </a:solidFill>
            </a:endParaRPr>
          </a:p>
        </p:txBody>
      </p:sp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424C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424C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424CA0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02844500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304886761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17258174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amka_slajd turkus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60350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6BDC6487-B0D1-45F3-8602-7D123E6E933A}" type="slidenum">
              <a:rPr lang="pl-PL" sz="1200" b="1" smtClean="0">
                <a:solidFill>
                  <a:srgbClr val="49C7ED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>
              <a:solidFill>
                <a:srgbClr val="49C7ED"/>
              </a:solidFill>
            </a:endParaRPr>
          </a:p>
        </p:txBody>
      </p:sp>
      <p:pic>
        <p:nvPicPr>
          <p:cNvPr id="9" name="Picture 5" descr="kreska pionow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557338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49C7E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49C7E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13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49C7ED"/>
              </a:buClr>
              <a:buFont typeface="Arial" pitchFamily="34" charset="0"/>
              <a:buChar char="•"/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94246587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90788716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280023632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279494741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/>
              <a:t>Kliknij, aby edytować styl wzorca podtytułu</a:t>
            </a:r>
          </a:p>
        </p:txBody>
      </p:sp>
    </p:spTree>
    <p:extLst>
      <p:ext uri="{BB962C8B-B14F-4D97-AF65-F5344CB8AC3E}">
        <p14:creationId xmlns:p14="http://schemas.microsoft.com/office/powerpoint/2010/main" val="241537778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7217188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/>
              <a:t>Kliknij, aby edytować styl wzorca podtytułu</a:t>
            </a:r>
          </a:p>
        </p:txBody>
      </p:sp>
    </p:spTree>
    <p:extLst>
      <p:ext uri="{BB962C8B-B14F-4D97-AF65-F5344CB8AC3E}">
        <p14:creationId xmlns:p14="http://schemas.microsoft.com/office/powerpoint/2010/main" val="24545257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4988648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412271655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84379233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139521016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720905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01424900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13362557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26112851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60923626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/>
              <a:t>Kliknij, aby edytować styl wzorca podtytułu</a:t>
            </a:r>
          </a:p>
        </p:txBody>
      </p:sp>
    </p:spTree>
    <p:extLst>
      <p:ext uri="{BB962C8B-B14F-4D97-AF65-F5344CB8AC3E}">
        <p14:creationId xmlns:p14="http://schemas.microsoft.com/office/powerpoint/2010/main" val="17304279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72460246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84674573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68099375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56441380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36953865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51189956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651378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0665134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40100495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6970554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2533035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79689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914016368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/>
              <a:t>Kliknij, aby edytować styl wzorca podtytułu</a:t>
            </a:r>
          </a:p>
        </p:txBody>
      </p:sp>
    </p:spTree>
    <p:extLst>
      <p:ext uri="{BB962C8B-B14F-4D97-AF65-F5344CB8AC3E}">
        <p14:creationId xmlns:p14="http://schemas.microsoft.com/office/powerpoint/2010/main" val="2540349719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389203109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30261618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46352844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74563049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320399901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12315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195085130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96035173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5508039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65874148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35301249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/>
              <a:t>Kliknij, aby edytować styl wzorca podtytułu</a:t>
            </a:r>
          </a:p>
        </p:txBody>
      </p:sp>
    </p:spTree>
    <p:extLst>
      <p:ext uri="{BB962C8B-B14F-4D97-AF65-F5344CB8AC3E}">
        <p14:creationId xmlns:p14="http://schemas.microsoft.com/office/powerpoint/2010/main" val="1292534823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032053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93890121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8019773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48303038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276892532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489152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533564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9260881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787791731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510640529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38524911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/>
              <a:t>Kliknij, aby edytować styl wzorca podtytułu</a:t>
            </a:r>
          </a:p>
        </p:txBody>
      </p:sp>
    </p:spTree>
    <p:extLst>
      <p:ext uri="{BB962C8B-B14F-4D97-AF65-F5344CB8AC3E}">
        <p14:creationId xmlns:p14="http://schemas.microsoft.com/office/powerpoint/2010/main" val="336813508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40830860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67551141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85846692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02602132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115476096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0881269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069802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41280068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56458767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299961505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64220258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/>
              <a:t>Kliknij, aby edytować styl wzorca podtytułu</a:t>
            </a:r>
          </a:p>
        </p:txBody>
      </p:sp>
    </p:spTree>
    <p:extLst>
      <p:ext uri="{BB962C8B-B14F-4D97-AF65-F5344CB8AC3E}">
        <p14:creationId xmlns:p14="http://schemas.microsoft.com/office/powerpoint/2010/main" val="1765765654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19652464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5209346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79934768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075840889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2089130317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0183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182197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0011178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23001841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56211293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49212917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/>
              <a:t>Kliknij, aby edytować styl wzorca podtytułu</a:t>
            </a:r>
          </a:p>
        </p:txBody>
      </p:sp>
    </p:spTree>
    <p:extLst>
      <p:ext uri="{BB962C8B-B14F-4D97-AF65-F5344CB8AC3E}">
        <p14:creationId xmlns:p14="http://schemas.microsoft.com/office/powerpoint/2010/main" val="1638985872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074162542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97127861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244326773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90903355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28707460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88353361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6731222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6361807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3421871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28999716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717666348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/>
              <a:t>Kliknij, aby edytować styl wzorca podtytułu</a:t>
            </a:r>
          </a:p>
        </p:txBody>
      </p:sp>
    </p:spTree>
    <p:extLst>
      <p:ext uri="{BB962C8B-B14F-4D97-AF65-F5344CB8AC3E}">
        <p14:creationId xmlns:p14="http://schemas.microsoft.com/office/powerpoint/2010/main" val="3757718437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781263790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79634928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197000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4340219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399859377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894065932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122962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863746026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7444222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073231554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846967330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/>
              <a:t>Kliknij, aby edytować styl wzorca podtytułu</a:t>
            </a:r>
          </a:p>
        </p:txBody>
      </p:sp>
    </p:spTree>
    <p:extLst>
      <p:ext uri="{BB962C8B-B14F-4D97-AF65-F5344CB8AC3E}">
        <p14:creationId xmlns:p14="http://schemas.microsoft.com/office/powerpoint/2010/main" val="2568148838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85524271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087178989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3929990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78548962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99077619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354673983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177138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67710960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616674711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678019209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31656763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/>
              <a:t>Kliknij, aby edytować styl wzorca podtytułu</a:t>
            </a:r>
          </a:p>
        </p:txBody>
      </p:sp>
    </p:spTree>
    <p:extLst>
      <p:ext uri="{BB962C8B-B14F-4D97-AF65-F5344CB8AC3E}">
        <p14:creationId xmlns:p14="http://schemas.microsoft.com/office/powerpoint/2010/main" val="66751628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164227293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8616663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065928926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56440038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842461190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79407358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7606311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90789716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58415345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691317482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604433037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/>
              <a:t>Kliknij, aby edytować styl wzorca podtytułu</a:t>
            </a:r>
          </a:p>
        </p:txBody>
      </p:sp>
    </p:spTree>
    <p:extLst>
      <p:ext uri="{BB962C8B-B14F-4D97-AF65-F5344CB8AC3E}">
        <p14:creationId xmlns:p14="http://schemas.microsoft.com/office/powerpoint/2010/main" val="211266333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124867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/>
              <a:t>Kliknij, aby edytować styl wzorca podtytułu</a:t>
            </a:r>
          </a:p>
        </p:txBody>
      </p:sp>
    </p:spTree>
    <p:extLst>
      <p:ext uri="{BB962C8B-B14F-4D97-AF65-F5344CB8AC3E}">
        <p14:creationId xmlns:p14="http://schemas.microsoft.com/office/powerpoint/2010/main" val="2182026075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97846584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976728957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714595752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2646897229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515133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68201737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812057477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34275851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272302022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/>
              <a:t>Kliknij, aby edytować styl wzorca podtytułu</a:t>
            </a:r>
          </a:p>
        </p:txBody>
      </p:sp>
    </p:spTree>
    <p:extLst>
      <p:ext uri="{BB962C8B-B14F-4D97-AF65-F5344CB8AC3E}">
        <p14:creationId xmlns:p14="http://schemas.microsoft.com/office/powerpoint/2010/main" val="39936150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21133084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03346956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604976768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287805865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849989240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434392206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1368485644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5097096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365383402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55663126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4323523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0638517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901565198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/>
              <a:t>Kliknij, aby edytować styl wzorca podtytułu</a:t>
            </a:r>
          </a:p>
        </p:txBody>
      </p:sp>
    </p:spTree>
    <p:extLst>
      <p:ext uri="{BB962C8B-B14F-4D97-AF65-F5344CB8AC3E}">
        <p14:creationId xmlns:p14="http://schemas.microsoft.com/office/powerpoint/2010/main" val="343667121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531635629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501027185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663111671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394473925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1785495350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1775558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684554002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418623835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8751623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848577738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284838002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ramka_slajd zielon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513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625" y="5911850"/>
            <a:ext cx="269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CA8776DE-50C3-408D-B189-A0618838900B}" type="slidenum">
              <a:rPr lang="pl-PL" sz="1200" b="1" smtClean="0">
                <a:solidFill>
                  <a:srgbClr val="72BF44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>
              <a:solidFill>
                <a:srgbClr val="72BF44"/>
              </a:solidFill>
            </a:endParaRPr>
          </a:p>
        </p:txBody>
      </p:sp>
      <p:sp>
        <p:nvSpPr>
          <p:cNvPr id="10" name="Prostokąt 9"/>
          <p:cNvSpPr/>
          <p:nvPr userDrawn="1"/>
        </p:nvSpPr>
        <p:spPr>
          <a:xfrm>
            <a:off x="5219700" y="765175"/>
            <a:ext cx="2376488" cy="719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 dirty="0">
              <a:solidFill>
                <a:schemeClr val="tx1"/>
              </a:solidFill>
            </a:endParaRPr>
          </a:p>
        </p:txBody>
      </p:sp>
      <p:sp>
        <p:nvSpPr>
          <p:cNvPr id="18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692150"/>
            <a:ext cx="7272288" cy="79216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92D05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19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43212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92D05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21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72BF44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340191350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ramka_slajd czerwon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60350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kresk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0022" b="-60022"/>
          <a:stretch>
            <a:fillRect/>
          </a:stretch>
        </p:blipFill>
        <p:spPr bwMode="auto">
          <a:xfrm>
            <a:off x="415925" y="5848350"/>
            <a:ext cx="8248650" cy="6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5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 descr="kresk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0022" b="-60022"/>
          <a:stretch>
            <a:fillRect/>
          </a:stretch>
        </p:blipFill>
        <p:spPr bwMode="auto">
          <a:xfrm>
            <a:off x="395288" y="1538288"/>
            <a:ext cx="8248650" cy="6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E8BC3978-235A-4FFF-8D8C-C9F7A6DF896A}" type="slidenum">
              <a:rPr lang="pl-PL" sz="1200" b="1" smtClean="0">
                <a:solidFill>
                  <a:srgbClr val="ED1C24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>
              <a:solidFill>
                <a:srgbClr val="ED1C24"/>
              </a:solidFill>
            </a:endParaRPr>
          </a:p>
        </p:txBody>
      </p:sp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ED1C2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ED1C2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13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ED1C24"/>
              </a:buClr>
              <a:buFont typeface="Arial" pitchFamily="34" charset="0"/>
              <a:buChar char="•"/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9498554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7074770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16288130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54247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9329207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932355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9660892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41237129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 descr="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075AADEE-B4BD-422A-9E72-D4F5687AD49F}" type="slidenum">
              <a:rPr lang="pl-PL" sz="1200" b="1" smtClean="0">
                <a:solidFill>
                  <a:srgbClr val="11897D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>
              <a:solidFill>
                <a:srgbClr val="11897D"/>
              </a:solidFill>
              <a:latin typeface="Arial" charset="0"/>
            </a:endParaRPr>
          </a:p>
        </p:txBody>
      </p:sp>
      <p:pic>
        <p:nvPicPr>
          <p:cNvPr id="9" name="Picture 10" descr="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1628775"/>
            <a:ext cx="8277225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1" descr="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5400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2" descr="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77225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 baseline="0">
                <a:solidFill>
                  <a:srgbClr val="00AEE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00AEE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13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00AEEF"/>
              </a:buClr>
              <a:buFont typeface="Arial" pitchFamily="34" charset="0"/>
              <a:buChar char="•"/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38356006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/>
              <a:t>Kliknij, aby edytować styl wzorca podtytułu</a:t>
            </a:r>
          </a:p>
        </p:txBody>
      </p:sp>
    </p:spTree>
    <p:extLst>
      <p:ext uri="{BB962C8B-B14F-4D97-AF65-F5344CB8AC3E}">
        <p14:creationId xmlns:p14="http://schemas.microsoft.com/office/powerpoint/2010/main" val="1105324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10597438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8002498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60226563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2303634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14296434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399369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2460702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5791159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5664675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58530351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0063178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/>
              <a:t>Kliknij, aby edytować styl wzorca podtytułu</a:t>
            </a:r>
          </a:p>
        </p:txBody>
      </p:sp>
    </p:spTree>
    <p:extLst>
      <p:ext uri="{BB962C8B-B14F-4D97-AF65-F5344CB8AC3E}">
        <p14:creationId xmlns:p14="http://schemas.microsoft.com/office/powerpoint/2010/main" val="20286136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65467461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2780974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84884721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44353728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107006805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680437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3060255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123663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187947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4356099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46214443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/>
              <a:t>Kliknij, aby edytować styl wzorca podtytułu</a:t>
            </a:r>
          </a:p>
        </p:txBody>
      </p:sp>
    </p:spTree>
    <p:extLst>
      <p:ext uri="{BB962C8B-B14F-4D97-AF65-F5344CB8AC3E}">
        <p14:creationId xmlns:p14="http://schemas.microsoft.com/office/powerpoint/2010/main" val="327384115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11954504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8428872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52951183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42791283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411199645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888994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4503858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/>
              <a:t>Kliknij, aby edytować styl wzorca podtytułu</a:t>
            </a:r>
          </a:p>
        </p:txBody>
      </p:sp>
    </p:spTree>
    <p:extLst>
      <p:ext uri="{BB962C8B-B14F-4D97-AF65-F5344CB8AC3E}">
        <p14:creationId xmlns:p14="http://schemas.microsoft.com/office/powerpoint/2010/main" val="123949947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5739525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38377994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79385488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/>
              <a:t>Kliknij, aby edytować styl wzorca podtytułu</a:t>
            </a:r>
          </a:p>
        </p:txBody>
      </p:sp>
    </p:spTree>
    <p:extLst>
      <p:ext uri="{BB962C8B-B14F-4D97-AF65-F5344CB8AC3E}">
        <p14:creationId xmlns:p14="http://schemas.microsoft.com/office/powerpoint/2010/main" val="234288810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61338224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14761978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40871448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30792071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236708488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26953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41185294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48455893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499231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426910245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96808278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/>
              <a:t>Kliknij, aby edytować styl wzorca podtytułu</a:t>
            </a:r>
          </a:p>
        </p:txBody>
      </p:sp>
    </p:spTree>
    <p:extLst>
      <p:ext uri="{BB962C8B-B14F-4D97-AF65-F5344CB8AC3E}">
        <p14:creationId xmlns:p14="http://schemas.microsoft.com/office/powerpoint/2010/main" val="149866635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18994055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74650356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47025738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15556401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13913745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22902399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825852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36131704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7044981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10052435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72384206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/>
              <a:t>Kliknij, aby edytować styl wzorca podtytułu</a:t>
            </a:r>
          </a:p>
        </p:txBody>
      </p:sp>
    </p:spTree>
    <p:extLst>
      <p:ext uri="{BB962C8B-B14F-4D97-AF65-F5344CB8AC3E}">
        <p14:creationId xmlns:p14="http://schemas.microsoft.com/office/powerpoint/2010/main" val="254079670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37496119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2128256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91716111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7865883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145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theme" Target="../theme/theme18.xml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1.png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19.xml"/><Relationship Id="rId1" Type="http://schemas.openxmlformats.org/officeDocument/2006/relationships/slideLayout" Target="../slideLayouts/slideLayout16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.png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theme" Target="../theme/theme20.xml"/><Relationship Id="rId2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64.xml"/><Relationship Id="rId4" Type="http://schemas.openxmlformats.org/officeDocument/2006/relationships/image" Target="../media/image1.png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1.xml"/><Relationship Id="rId1" Type="http://schemas.openxmlformats.org/officeDocument/2006/relationships/slideLayout" Target="../slideLayouts/slideLayout166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2.xml"/><Relationship Id="rId2" Type="http://schemas.openxmlformats.org/officeDocument/2006/relationships/slideLayout" Target="../slideLayouts/slideLayout168.xml"/><Relationship Id="rId1" Type="http://schemas.openxmlformats.org/officeDocument/2006/relationships/slideLayout" Target="../slideLayouts/slideLayout167.xml"/><Relationship Id="rId4" Type="http://schemas.openxmlformats.org/officeDocument/2006/relationships/image" Target="../media/image1.png"/></Relationships>
</file>

<file path=ppt/slideMasters/_rels/slideMaster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3.xml"/><Relationship Id="rId1" Type="http://schemas.openxmlformats.org/officeDocument/2006/relationships/slideLayout" Target="../slideLayouts/slideLayout169.xml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theme" Target="../theme/theme24.xml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4" Type="http://schemas.openxmlformats.org/officeDocument/2006/relationships/image" Target="../media/image1.png"/></Relationships>
</file>

<file path=ppt/slideMasters/_rels/slideMaster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5.xml"/><Relationship Id="rId1" Type="http://schemas.openxmlformats.org/officeDocument/2006/relationships/slideLayout" Target="../slideLayouts/slideLayout172.xml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theme" Target="../theme/theme26.xml"/><Relationship Id="rId2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73.xml"/><Relationship Id="rId4" Type="http://schemas.openxmlformats.org/officeDocument/2006/relationships/image" Target="../media/image1.png"/></Relationships>
</file>

<file path=ppt/slideMasters/_rels/slideMaster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7.xml"/><Relationship Id="rId1" Type="http://schemas.openxmlformats.org/officeDocument/2006/relationships/slideLayout" Target="../slideLayouts/slideLayout175.xml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8.xml"/><Relationship Id="rId1" Type="http://schemas.openxmlformats.org/officeDocument/2006/relationships/slideLayout" Target="../slideLayouts/slideLayout176.xml"/></Relationships>
</file>

<file path=ppt/slideMasters/_rels/slideMaster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9.xml"/><Relationship Id="rId1" Type="http://schemas.openxmlformats.org/officeDocument/2006/relationships/slideLayout" Target="../slideLayouts/slideLayout17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png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84.xml"/><Relationship Id="rId12" Type="http://schemas.openxmlformats.org/officeDocument/2006/relationships/theme" Target="../theme/theme30.xml"/><Relationship Id="rId2" Type="http://schemas.openxmlformats.org/officeDocument/2006/relationships/slideLayout" Target="../slideLayouts/slideLayout179.xml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82.xml"/><Relationship Id="rId15" Type="http://schemas.openxmlformats.org/officeDocument/2006/relationships/image" Target="../media/image23.png"/><Relationship Id="rId10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Relationship Id="rId14" Type="http://schemas.openxmlformats.org/officeDocument/2006/relationships/image" Target="../media/image22.png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6.xml"/><Relationship Id="rId13" Type="http://schemas.openxmlformats.org/officeDocument/2006/relationships/image" Target="../media/image24.png"/><Relationship Id="rId3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95.xml"/><Relationship Id="rId12" Type="http://schemas.openxmlformats.org/officeDocument/2006/relationships/theme" Target="../theme/theme31.xml"/><Relationship Id="rId2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4.xml"/><Relationship Id="rId11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193.xml"/><Relationship Id="rId15" Type="http://schemas.openxmlformats.org/officeDocument/2006/relationships/image" Target="../media/image26.png"/><Relationship Id="rId10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97.xml"/><Relationship Id="rId14" Type="http://schemas.openxmlformats.org/officeDocument/2006/relationships/image" Target="../media/image25.pn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7.xml"/><Relationship Id="rId13" Type="http://schemas.openxmlformats.org/officeDocument/2006/relationships/image" Target="../media/image27.png"/><Relationship Id="rId3" Type="http://schemas.openxmlformats.org/officeDocument/2006/relationships/slideLayout" Target="../slideLayouts/slideLayout202.xml"/><Relationship Id="rId7" Type="http://schemas.openxmlformats.org/officeDocument/2006/relationships/slideLayout" Target="../slideLayouts/slideLayout206.xml"/><Relationship Id="rId12" Type="http://schemas.openxmlformats.org/officeDocument/2006/relationships/theme" Target="../theme/theme32.xml"/><Relationship Id="rId2" Type="http://schemas.openxmlformats.org/officeDocument/2006/relationships/slideLayout" Target="../slideLayouts/slideLayout201.xml"/><Relationship Id="rId1" Type="http://schemas.openxmlformats.org/officeDocument/2006/relationships/slideLayout" Target="../slideLayouts/slideLayout200.xml"/><Relationship Id="rId6" Type="http://schemas.openxmlformats.org/officeDocument/2006/relationships/slideLayout" Target="../slideLayouts/slideLayout205.xml"/><Relationship Id="rId11" Type="http://schemas.openxmlformats.org/officeDocument/2006/relationships/slideLayout" Target="../slideLayouts/slideLayout210.xml"/><Relationship Id="rId5" Type="http://schemas.openxmlformats.org/officeDocument/2006/relationships/slideLayout" Target="../slideLayouts/slideLayout204.xml"/><Relationship Id="rId15" Type="http://schemas.openxmlformats.org/officeDocument/2006/relationships/image" Target="../media/image29.png"/><Relationship Id="rId10" Type="http://schemas.openxmlformats.org/officeDocument/2006/relationships/slideLayout" Target="../slideLayouts/slideLayout209.xml"/><Relationship Id="rId4" Type="http://schemas.openxmlformats.org/officeDocument/2006/relationships/slideLayout" Target="../slideLayouts/slideLayout203.xml"/><Relationship Id="rId9" Type="http://schemas.openxmlformats.org/officeDocument/2006/relationships/slideLayout" Target="../slideLayouts/slideLayout208.xml"/><Relationship Id="rId14" Type="http://schemas.openxmlformats.org/officeDocument/2006/relationships/image" Target="../media/image28.png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8.xml"/><Relationship Id="rId13" Type="http://schemas.openxmlformats.org/officeDocument/2006/relationships/image" Target="../media/image30.png"/><Relationship Id="rId3" Type="http://schemas.openxmlformats.org/officeDocument/2006/relationships/slideLayout" Target="../slideLayouts/slideLayout213.xml"/><Relationship Id="rId7" Type="http://schemas.openxmlformats.org/officeDocument/2006/relationships/slideLayout" Target="../slideLayouts/slideLayout217.xml"/><Relationship Id="rId12" Type="http://schemas.openxmlformats.org/officeDocument/2006/relationships/theme" Target="../theme/theme33.xml"/><Relationship Id="rId2" Type="http://schemas.openxmlformats.org/officeDocument/2006/relationships/slideLayout" Target="../slideLayouts/slideLayout212.xml"/><Relationship Id="rId1" Type="http://schemas.openxmlformats.org/officeDocument/2006/relationships/slideLayout" Target="../slideLayouts/slideLayout211.xml"/><Relationship Id="rId6" Type="http://schemas.openxmlformats.org/officeDocument/2006/relationships/slideLayout" Target="../slideLayouts/slideLayout216.xml"/><Relationship Id="rId11" Type="http://schemas.openxmlformats.org/officeDocument/2006/relationships/slideLayout" Target="../slideLayouts/slideLayout221.xml"/><Relationship Id="rId5" Type="http://schemas.openxmlformats.org/officeDocument/2006/relationships/slideLayout" Target="../slideLayouts/slideLayout215.xml"/><Relationship Id="rId15" Type="http://schemas.openxmlformats.org/officeDocument/2006/relationships/image" Target="../media/image32.png"/><Relationship Id="rId10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214.xml"/><Relationship Id="rId9" Type="http://schemas.openxmlformats.org/officeDocument/2006/relationships/slideLayout" Target="../slideLayouts/slideLayout219.xml"/><Relationship Id="rId14" Type="http://schemas.openxmlformats.org/officeDocument/2006/relationships/image" Target="../media/image31.png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9.xml"/><Relationship Id="rId13" Type="http://schemas.openxmlformats.org/officeDocument/2006/relationships/image" Target="../media/image33.png"/><Relationship Id="rId3" Type="http://schemas.openxmlformats.org/officeDocument/2006/relationships/slideLayout" Target="../slideLayouts/slideLayout224.xml"/><Relationship Id="rId7" Type="http://schemas.openxmlformats.org/officeDocument/2006/relationships/slideLayout" Target="../slideLayouts/slideLayout228.xml"/><Relationship Id="rId12" Type="http://schemas.openxmlformats.org/officeDocument/2006/relationships/theme" Target="../theme/theme34.xml"/><Relationship Id="rId2" Type="http://schemas.openxmlformats.org/officeDocument/2006/relationships/slideLayout" Target="../slideLayouts/slideLayout223.xml"/><Relationship Id="rId1" Type="http://schemas.openxmlformats.org/officeDocument/2006/relationships/slideLayout" Target="../slideLayouts/slideLayout222.xml"/><Relationship Id="rId6" Type="http://schemas.openxmlformats.org/officeDocument/2006/relationships/slideLayout" Target="../slideLayouts/slideLayout227.xml"/><Relationship Id="rId11" Type="http://schemas.openxmlformats.org/officeDocument/2006/relationships/slideLayout" Target="../slideLayouts/slideLayout232.xml"/><Relationship Id="rId5" Type="http://schemas.openxmlformats.org/officeDocument/2006/relationships/slideLayout" Target="../slideLayouts/slideLayout226.xml"/><Relationship Id="rId15" Type="http://schemas.openxmlformats.org/officeDocument/2006/relationships/image" Target="../media/image35.png"/><Relationship Id="rId10" Type="http://schemas.openxmlformats.org/officeDocument/2006/relationships/slideLayout" Target="../slideLayouts/slideLayout231.xml"/><Relationship Id="rId4" Type="http://schemas.openxmlformats.org/officeDocument/2006/relationships/slideLayout" Target="../slideLayouts/slideLayout225.xml"/><Relationship Id="rId9" Type="http://schemas.openxmlformats.org/officeDocument/2006/relationships/slideLayout" Target="../slideLayouts/slideLayout230.xml"/><Relationship Id="rId14" Type="http://schemas.openxmlformats.org/officeDocument/2006/relationships/image" Target="../media/image34.png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39.xml"/><Relationship Id="rId12" Type="http://schemas.openxmlformats.org/officeDocument/2006/relationships/theme" Target="../theme/theme35.xml"/><Relationship Id="rId2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slideLayout" Target="../slideLayouts/slideLayout243.xml"/><Relationship Id="rId5" Type="http://schemas.openxmlformats.org/officeDocument/2006/relationships/slideLayout" Target="../slideLayouts/slideLayout237.xml"/><Relationship Id="rId15" Type="http://schemas.openxmlformats.org/officeDocument/2006/relationships/image" Target="../media/image23.png"/><Relationship Id="rId10" Type="http://schemas.openxmlformats.org/officeDocument/2006/relationships/slideLayout" Target="../slideLayouts/slideLayout242.xml"/><Relationship Id="rId4" Type="http://schemas.openxmlformats.org/officeDocument/2006/relationships/slideLayout" Target="../slideLayouts/slideLayout236.xml"/><Relationship Id="rId9" Type="http://schemas.openxmlformats.org/officeDocument/2006/relationships/slideLayout" Target="../slideLayouts/slideLayout241.xml"/><Relationship Id="rId14" Type="http://schemas.openxmlformats.org/officeDocument/2006/relationships/image" Target="../media/image22.png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1.xml"/><Relationship Id="rId13" Type="http://schemas.openxmlformats.org/officeDocument/2006/relationships/image" Target="../media/image36.png"/><Relationship Id="rId3" Type="http://schemas.openxmlformats.org/officeDocument/2006/relationships/slideLayout" Target="../slideLayouts/slideLayout246.xml"/><Relationship Id="rId7" Type="http://schemas.openxmlformats.org/officeDocument/2006/relationships/slideLayout" Target="../slideLayouts/slideLayout250.xml"/><Relationship Id="rId12" Type="http://schemas.openxmlformats.org/officeDocument/2006/relationships/theme" Target="../theme/theme36.xml"/><Relationship Id="rId2" Type="http://schemas.openxmlformats.org/officeDocument/2006/relationships/slideLayout" Target="../slideLayouts/slideLayout245.xml"/><Relationship Id="rId1" Type="http://schemas.openxmlformats.org/officeDocument/2006/relationships/slideLayout" Target="../slideLayouts/slideLayout244.xml"/><Relationship Id="rId6" Type="http://schemas.openxmlformats.org/officeDocument/2006/relationships/slideLayout" Target="../slideLayouts/slideLayout249.xml"/><Relationship Id="rId11" Type="http://schemas.openxmlformats.org/officeDocument/2006/relationships/slideLayout" Target="../slideLayouts/slideLayout254.xml"/><Relationship Id="rId5" Type="http://schemas.openxmlformats.org/officeDocument/2006/relationships/slideLayout" Target="../slideLayouts/slideLayout248.xml"/><Relationship Id="rId15" Type="http://schemas.openxmlformats.org/officeDocument/2006/relationships/image" Target="../media/image38.png"/><Relationship Id="rId10" Type="http://schemas.openxmlformats.org/officeDocument/2006/relationships/slideLayout" Target="../slideLayouts/slideLayout253.xml"/><Relationship Id="rId4" Type="http://schemas.openxmlformats.org/officeDocument/2006/relationships/slideLayout" Target="../slideLayouts/slideLayout247.xml"/><Relationship Id="rId9" Type="http://schemas.openxmlformats.org/officeDocument/2006/relationships/slideLayout" Target="../slideLayouts/slideLayout252.xml"/><Relationship Id="rId14" Type="http://schemas.openxmlformats.org/officeDocument/2006/relationships/image" Target="../media/image37.png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2.xml"/><Relationship Id="rId13" Type="http://schemas.openxmlformats.org/officeDocument/2006/relationships/image" Target="../media/image39.png"/><Relationship Id="rId3" Type="http://schemas.openxmlformats.org/officeDocument/2006/relationships/slideLayout" Target="../slideLayouts/slideLayout257.xml"/><Relationship Id="rId7" Type="http://schemas.openxmlformats.org/officeDocument/2006/relationships/slideLayout" Target="../slideLayouts/slideLayout261.xml"/><Relationship Id="rId12" Type="http://schemas.openxmlformats.org/officeDocument/2006/relationships/theme" Target="../theme/theme37.xml"/><Relationship Id="rId2" Type="http://schemas.openxmlformats.org/officeDocument/2006/relationships/slideLayout" Target="../slideLayouts/slideLayout256.xml"/><Relationship Id="rId1" Type="http://schemas.openxmlformats.org/officeDocument/2006/relationships/slideLayout" Target="../slideLayouts/slideLayout255.xml"/><Relationship Id="rId6" Type="http://schemas.openxmlformats.org/officeDocument/2006/relationships/slideLayout" Target="../slideLayouts/slideLayout260.xml"/><Relationship Id="rId11" Type="http://schemas.openxmlformats.org/officeDocument/2006/relationships/slideLayout" Target="../slideLayouts/slideLayout265.xml"/><Relationship Id="rId5" Type="http://schemas.openxmlformats.org/officeDocument/2006/relationships/slideLayout" Target="../slideLayouts/slideLayout259.xml"/><Relationship Id="rId15" Type="http://schemas.openxmlformats.org/officeDocument/2006/relationships/image" Target="../media/image41.png"/><Relationship Id="rId10" Type="http://schemas.openxmlformats.org/officeDocument/2006/relationships/slideLayout" Target="../slideLayouts/slideLayout264.xml"/><Relationship Id="rId4" Type="http://schemas.openxmlformats.org/officeDocument/2006/relationships/slideLayout" Target="../slideLayouts/slideLayout258.xml"/><Relationship Id="rId9" Type="http://schemas.openxmlformats.org/officeDocument/2006/relationships/slideLayout" Target="../slideLayouts/slideLayout263.xml"/><Relationship Id="rId14" Type="http://schemas.openxmlformats.org/officeDocument/2006/relationships/image" Target="../media/image40.png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68.xml"/><Relationship Id="rId7" Type="http://schemas.openxmlformats.org/officeDocument/2006/relationships/slideLayout" Target="../slideLayouts/slideLayout272.xml"/><Relationship Id="rId12" Type="http://schemas.openxmlformats.org/officeDocument/2006/relationships/theme" Target="../theme/theme38.xml"/><Relationship Id="rId2" Type="http://schemas.openxmlformats.org/officeDocument/2006/relationships/slideLayout" Target="../slideLayouts/slideLayout267.xml"/><Relationship Id="rId1" Type="http://schemas.openxmlformats.org/officeDocument/2006/relationships/slideLayout" Target="../slideLayouts/slideLayout266.xml"/><Relationship Id="rId6" Type="http://schemas.openxmlformats.org/officeDocument/2006/relationships/slideLayout" Target="../slideLayouts/slideLayout271.xml"/><Relationship Id="rId11" Type="http://schemas.openxmlformats.org/officeDocument/2006/relationships/slideLayout" Target="../slideLayouts/slideLayout276.xml"/><Relationship Id="rId5" Type="http://schemas.openxmlformats.org/officeDocument/2006/relationships/slideLayout" Target="../slideLayouts/slideLayout270.xml"/><Relationship Id="rId10" Type="http://schemas.openxmlformats.org/officeDocument/2006/relationships/slideLayout" Target="../slideLayouts/slideLayout275.xml"/><Relationship Id="rId4" Type="http://schemas.openxmlformats.org/officeDocument/2006/relationships/slideLayout" Target="../slideLayouts/slideLayout269.xml"/><Relationship Id="rId9" Type="http://schemas.openxmlformats.org/officeDocument/2006/relationships/slideLayout" Target="../slideLayouts/slideLayout274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4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279.xml"/><Relationship Id="rId7" Type="http://schemas.openxmlformats.org/officeDocument/2006/relationships/slideLayout" Target="../slideLayouts/slideLayout283.xml"/><Relationship Id="rId12" Type="http://schemas.openxmlformats.org/officeDocument/2006/relationships/theme" Target="../theme/theme39.xml"/><Relationship Id="rId2" Type="http://schemas.openxmlformats.org/officeDocument/2006/relationships/slideLayout" Target="../slideLayouts/slideLayout278.xml"/><Relationship Id="rId1" Type="http://schemas.openxmlformats.org/officeDocument/2006/relationships/slideLayout" Target="../slideLayouts/slideLayout277.xml"/><Relationship Id="rId6" Type="http://schemas.openxmlformats.org/officeDocument/2006/relationships/slideLayout" Target="../slideLayouts/slideLayout282.xml"/><Relationship Id="rId11" Type="http://schemas.openxmlformats.org/officeDocument/2006/relationships/slideLayout" Target="../slideLayouts/slideLayout287.xml"/><Relationship Id="rId5" Type="http://schemas.openxmlformats.org/officeDocument/2006/relationships/slideLayout" Target="../slideLayouts/slideLayout281.xml"/><Relationship Id="rId10" Type="http://schemas.openxmlformats.org/officeDocument/2006/relationships/slideLayout" Target="../slideLayouts/slideLayout286.xml"/><Relationship Id="rId4" Type="http://schemas.openxmlformats.org/officeDocument/2006/relationships/slideLayout" Target="../slideLayouts/slideLayout280.xml"/><Relationship Id="rId9" Type="http://schemas.openxmlformats.org/officeDocument/2006/relationships/slideLayout" Target="../slideLayouts/slideLayout2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90.xml"/><Relationship Id="rId7" Type="http://schemas.openxmlformats.org/officeDocument/2006/relationships/slideLayout" Target="../slideLayouts/slideLayout294.xml"/><Relationship Id="rId12" Type="http://schemas.openxmlformats.org/officeDocument/2006/relationships/theme" Target="../theme/theme40.xml"/><Relationship Id="rId2" Type="http://schemas.openxmlformats.org/officeDocument/2006/relationships/slideLayout" Target="../slideLayouts/slideLayout289.xml"/><Relationship Id="rId1" Type="http://schemas.openxmlformats.org/officeDocument/2006/relationships/slideLayout" Target="../slideLayouts/slideLayout288.xml"/><Relationship Id="rId6" Type="http://schemas.openxmlformats.org/officeDocument/2006/relationships/slideLayout" Target="../slideLayouts/slideLayout293.xml"/><Relationship Id="rId11" Type="http://schemas.openxmlformats.org/officeDocument/2006/relationships/slideLayout" Target="../slideLayouts/slideLayout298.xml"/><Relationship Id="rId5" Type="http://schemas.openxmlformats.org/officeDocument/2006/relationships/slideLayout" Target="../slideLayouts/slideLayout292.xml"/><Relationship Id="rId10" Type="http://schemas.openxmlformats.org/officeDocument/2006/relationships/slideLayout" Target="../slideLayouts/slideLayout297.xml"/><Relationship Id="rId4" Type="http://schemas.openxmlformats.org/officeDocument/2006/relationships/slideLayout" Target="../slideLayouts/slideLayout291.xml"/><Relationship Id="rId9" Type="http://schemas.openxmlformats.org/officeDocument/2006/relationships/slideLayout" Target="../slideLayouts/slideLayout296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6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301.xml"/><Relationship Id="rId7" Type="http://schemas.openxmlformats.org/officeDocument/2006/relationships/slideLayout" Target="../slideLayouts/slideLayout305.xml"/><Relationship Id="rId12" Type="http://schemas.openxmlformats.org/officeDocument/2006/relationships/theme" Target="../theme/theme41.xml"/><Relationship Id="rId2" Type="http://schemas.openxmlformats.org/officeDocument/2006/relationships/slideLayout" Target="../slideLayouts/slideLayout300.xml"/><Relationship Id="rId1" Type="http://schemas.openxmlformats.org/officeDocument/2006/relationships/slideLayout" Target="../slideLayouts/slideLayout299.xml"/><Relationship Id="rId6" Type="http://schemas.openxmlformats.org/officeDocument/2006/relationships/slideLayout" Target="../slideLayouts/slideLayout304.xml"/><Relationship Id="rId11" Type="http://schemas.openxmlformats.org/officeDocument/2006/relationships/slideLayout" Target="../slideLayouts/slideLayout309.xml"/><Relationship Id="rId5" Type="http://schemas.openxmlformats.org/officeDocument/2006/relationships/slideLayout" Target="../slideLayouts/slideLayout303.xml"/><Relationship Id="rId10" Type="http://schemas.openxmlformats.org/officeDocument/2006/relationships/slideLayout" Target="../slideLayouts/slideLayout308.xml"/><Relationship Id="rId4" Type="http://schemas.openxmlformats.org/officeDocument/2006/relationships/slideLayout" Target="../slideLayouts/slideLayout302.xml"/><Relationship Id="rId9" Type="http://schemas.openxmlformats.org/officeDocument/2006/relationships/slideLayout" Target="../slideLayouts/slideLayout307.xml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7.xml"/><Relationship Id="rId3" Type="http://schemas.openxmlformats.org/officeDocument/2006/relationships/slideLayout" Target="../slideLayouts/slideLayout312.xml"/><Relationship Id="rId7" Type="http://schemas.openxmlformats.org/officeDocument/2006/relationships/slideLayout" Target="../slideLayouts/slideLayout316.xml"/><Relationship Id="rId12" Type="http://schemas.openxmlformats.org/officeDocument/2006/relationships/theme" Target="../theme/theme42.xml"/><Relationship Id="rId2" Type="http://schemas.openxmlformats.org/officeDocument/2006/relationships/slideLayout" Target="../slideLayouts/slideLayout311.xml"/><Relationship Id="rId1" Type="http://schemas.openxmlformats.org/officeDocument/2006/relationships/slideLayout" Target="../slideLayouts/slideLayout310.xml"/><Relationship Id="rId6" Type="http://schemas.openxmlformats.org/officeDocument/2006/relationships/slideLayout" Target="../slideLayouts/slideLayout315.xml"/><Relationship Id="rId11" Type="http://schemas.openxmlformats.org/officeDocument/2006/relationships/slideLayout" Target="../slideLayouts/slideLayout320.xml"/><Relationship Id="rId5" Type="http://schemas.openxmlformats.org/officeDocument/2006/relationships/slideLayout" Target="../slideLayouts/slideLayout314.xml"/><Relationship Id="rId10" Type="http://schemas.openxmlformats.org/officeDocument/2006/relationships/slideLayout" Target="../slideLayouts/slideLayout319.xml"/><Relationship Id="rId4" Type="http://schemas.openxmlformats.org/officeDocument/2006/relationships/slideLayout" Target="../slideLayouts/slideLayout313.xml"/><Relationship Id="rId9" Type="http://schemas.openxmlformats.org/officeDocument/2006/relationships/slideLayout" Target="../slideLayouts/slideLayout318.xml"/></Relationships>
</file>

<file path=ppt/slideMasters/_rels/slideMaster43.xml.rels><?xml version="1.0" encoding="UTF-8" standalone="yes"?>
<Relationships xmlns="http://schemas.openxmlformats.org/package/2006/relationships"><Relationship Id="rId2" Type="http://schemas.openxmlformats.org/officeDocument/2006/relationships/theme" Target="../theme/theme43.xml"/><Relationship Id="rId1" Type="http://schemas.openxmlformats.org/officeDocument/2006/relationships/slideLayout" Target="../slideLayouts/slideLayout321.xml"/></Relationships>
</file>

<file path=ppt/slideMasters/_rels/slideMaster4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4.xml"/><Relationship Id="rId1" Type="http://schemas.openxmlformats.org/officeDocument/2006/relationships/slideLayout" Target="../slideLayouts/slideLayout32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381" r:id="rId1"/>
    <p:sldLayoutId id="2147488382" r:id="rId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A39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10243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52" r:id="rId1"/>
    <p:sldLayoutId id="2147488453" r:id="rId2"/>
    <p:sldLayoutId id="2147488454" r:id="rId3"/>
    <p:sldLayoutId id="2147488455" r:id="rId4"/>
    <p:sldLayoutId id="2147488456" r:id="rId5"/>
    <p:sldLayoutId id="2147488457" r:id="rId6"/>
    <p:sldLayoutId id="2147488458" r:id="rId7"/>
    <p:sldLayoutId id="2147488459" r:id="rId8"/>
    <p:sldLayoutId id="2147488460" r:id="rId9"/>
    <p:sldLayoutId id="2147488461" r:id="rId10"/>
    <p:sldLayoutId id="214748846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A39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11267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63" r:id="rId1"/>
    <p:sldLayoutId id="2147488464" r:id="rId2"/>
    <p:sldLayoutId id="2147488465" r:id="rId3"/>
    <p:sldLayoutId id="2147488466" r:id="rId4"/>
    <p:sldLayoutId id="2147488467" r:id="rId5"/>
    <p:sldLayoutId id="2147488468" r:id="rId6"/>
    <p:sldLayoutId id="2147488469" r:id="rId7"/>
    <p:sldLayoutId id="2147488470" r:id="rId8"/>
    <p:sldLayoutId id="2147488471" r:id="rId9"/>
    <p:sldLayoutId id="2147488472" r:id="rId10"/>
    <p:sldLayoutId id="214748847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A1C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12291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74" r:id="rId1"/>
    <p:sldLayoutId id="2147488475" r:id="rId2"/>
    <p:sldLayoutId id="2147488476" r:id="rId3"/>
    <p:sldLayoutId id="2147488477" r:id="rId4"/>
    <p:sldLayoutId id="2147488478" r:id="rId5"/>
    <p:sldLayoutId id="2147488479" r:id="rId6"/>
    <p:sldLayoutId id="2147488480" r:id="rId7"/>
    <p:sldLayoutId id="2147488481" r:id="rId8"/>
    <p:sldLayoutId id="2147488482" r:id="rId9"/>
    <p:sldLayoutId id="2147488483" r:id="rId10"/>
    <p:sldLayoutId id="2147488484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A1C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13315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85" r:id="rId1"/>
    <p:sldLayoutId id="2147488486" r:id="rId2"/>
    <p:sldLayoutId id="2147488487" r:id="rId3"/>
    <p:sldLayoutId id="2147488488" r:id="rId4"/>
    <p:sldLayoutId id="2147488489" r:id="rId5"/>
    <p:sldLayoutId id="2147488490" r:id="rId6"/>
    <p:sldLayoutId id="2147488491" r:id="rId7"/>
    <p:sldLayoutId id="2147488492" r:id="rId8"/>
    <p:sldLayoutId id="2147488493" r:id="rId9"/>
    <p:sldLayoutId id="2147488494" r:id="rId10"/>
    <p:sldLayoutId id="2147488495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819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14339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96" r:id="rId1"/>
    <p:sldLayoutId id="2147488497" r:id="rId2"/>
    <p:sldLayoutId id="2147488498" r:id="rId3"/>
    <p:sldLayoutId id="2147488499" r:id="rId4"/>
    <p:sldLayoutId id="2147488500" r:id="rId5"/>
    <p:sldLayoutId id="2147488501" r:id="rId6"/>
    <p:sldLayoutId id="2147488502" r:id="rId7"/>
    <p:sldLayoutId id="2147488503" r:id="rId8"/>
    <p:sldLayoutId id="2147488504" r:id="rId9"/>
    <p:sldLayoutId id="2147488505" r:id="rId10"/>
    <p:sldLayoutId id="214748850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819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15363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07" r:id="rId1"/>
    <p:sldLayoutId id="2147488508" r:id="rId2"/>
    <p:sldLayoutId id="2147488509" r:id="rId3"/>
    <p:sldLayoutId id="2147488510" r:id="rId4"/>
    <p:sldLayoutId id="2147488511" r:id="rId5"/>
    <p:sldLayoutId id="2147488512" r:id="rId6"/>
    <p:sldLayoutId id="2147488513" r:id="rId7"/>
    <p:sldLayoutId id="2147488514" r:id="rId8"/>
    <p:sldLayoutId id="2147488515" r:id="rId9"/>
    <p:sldLayoutId id="2147488516" r:id="rId10"/>
    <p:sldLayoutId id="214748851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A1CD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16387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18" r:id="rId1"/>
    <p:sldLayoutId id="2147488519" r:id="rId2"/>
    <p:sldLayoutId id="2147488520" r:id="rId3"/>
    <p:sldLayoutId id="2147488521" r:id="rId4"/>
    <p:sldLayoutId id="2147488522" r:id="rId5"/>
    <p:sldLayoutId id="2147488523" r:id="rId6"/>
    <p:sldLayoutId id="2147488524" r:id="rId7"/>
    <p:sldLayoutId id="2147488525" r:id="rId8"/>
    <p:sldLayoutId id="2147488526" r:id="rId9"/>
    <p:sldLayoutId id="2147488527" r:id="rId10"/>
    <p:sldLayoutId id="2147488528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A1CD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17411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29" r:id="rId1"/>
    <p:sldLayoutId id="2147488530" r:id="rId2"/>
    <p:sldLayoutId id="2147488531" r:id="rId3"/>
    <p:sldLayoutId id="2147488532" r:id="rId4"/>
    <p:sldLayoutId id="2147488533" r:id="rId5"/>
    <p:sldLayoutId id="2147488534" r:id="rId6"/>
    <p:sldLayoutId id="2147488535" r:id="rId7"/>
    <p:sldLayoutId id="2147488536" r:id="rId8"/>
    <p:sldLayoutId id="2147488537" r:id="rId9"/>
    <p:sldLayoutId id="2147488538" r:id="rId10"/>
    <p:sldLayoutId id="214748853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5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0" r:id="rId1"/>
    <p:sldLayoutId id="2147488696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19459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1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AE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2051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83" r:id="rId1"/>
    <p:sldLayoutId id="2147488695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CB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3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2" r:id="rId1"/>
    <p:sldLayoutId id="2147488697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CB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21507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3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55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1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4" r:id="rId1"/>
    <p:sldLayoutId id="2147488698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55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23555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5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24C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79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6" r:id="rId1"/>
    <p:sldLayoutId id="2147488699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24C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25603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7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9C7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27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8" r:id="rId1"/>
    <p:sldLayoutId id="2147488700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9C7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27651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9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28675" name="Picture 5" descr="ramka_slajd z piktogramami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50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29699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51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AE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3075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84" r:id="rId1"/>
    <p:sldLayoutId id="2147488385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11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3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DB3DEBA6-C5E2-4420-9D9C-7756A5753017}" type="slidenum">
              <a:rPr lang="pl-PL" sz="1200" b="1" smtClean="0">
                <a:solidFill>
                  <a:srgbClr val="00AEEF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>
              <a:solidFill>
                <a:srgbClr val="00AEEF"/>
              </a:solidFill>
            </a:endParaRPr>
          </a:p>
        </p:txBody>
      </p:sp>
      <p:sp>
        <p:nvSpPr>
          <p:cNvPr id="3072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30725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6" name="Picture 10" descr="2"/>
          <p:cNvPicPr>
            <a:picLocks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788" y="5911850"/>
            <a:ext cx="25400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7" name="Picture 12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52" r:id="rId1"/>
    <p:sldLayoutId id="2147488553" r:id="rId2"/>
    <p:sldLayoutId id="2147488554" r:id="rId3"/>
    <p:sldLayoutId id="2147488555" r:id="rId4"/>
    <p:sldLayoutId id="2147488556" r:id="rId5"/>
    <p:sldLayoutId id="2147488557" r:id="rId6"/>
    <p:sldLayoutId id="2147488558" r:id="rId7"/>
    <p:sldLayoutId id="2147488559" r:id="rId8"/>
    <p:sldLayoutId id="2147488560" r:id="rId9"/>
    <p:sldLayoutId id="2147488561" r:id="rId10"/>
    <p:sldLayoutId id="214748856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F1A600DD-18BB-4F35-884F-01B5549BC4C3}" type="slidenum">
              <a:rPr lang="pl-PL" sz="1200" b="1" smtClean="0">
                <a:solidFill>
                  <a:srgbClr val="1B75BC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>
              <a:solidFill>
                <a:srgbClr val="1B75BC"/>
              </a:solidFill>
              <a:latin typeface="Arial" charset="0"/>
            </a:endParaRPr>
          </a:p>
        </p:txBody>
      </p:sp>
      <p:sp>
        <p:nvSpPr>
          <p:cNvPr id="3174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31749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0" name="Picture 10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1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63" r:id="rId1"/>
    <p:sldLayoutId id="2147488564" r:id="rId2"/>
    <p:sldLayoutId id="2147488565" r:id="rId3"/>
    <p:sldLayoutId id="2147488566" r:id="rId4"/>
    <p:sldLayoutId id="2147488567" r:id="rId5"/>
    <p:sldLayoutId id="2147488568" r:id="rId6"/>
    <p:sldLayoutId id="2147488569" r:id="rId7"/>
    <p:sldLayoutId id="2147488570" r:id="rId8"/>
    <p:sldLayoutId id="2147488571" r:id="rId9"/>
    <p:sldLayoutId id="2147488572" r:id="rId10"/>
    <p:sldLayoutId id="214748857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15900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1110A2AA-1970-4455-B7E9-9E503FDB2112}" type="slidenum">
              <a:rPr lang="pl-PL" sz="1200" b="1" smtClean="0">
                <a:solidFill>
                  <a:srgbClr val="DA1C5C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>
              <a:solidFill>
                <a:srgbClr val="DA1C5C"/>
              </a:solidFill>
              <a:latin typeface="Arial" charset="0"/>
            </a:endParaRPr>
          </a:p>
        </p:txBody>
      </p:sp>
      <p:sp>
        <p:nvSpPr>
          <p:cNvPr id="3277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32773" name="Picture 9" descr="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74" name="Picture 10" descr="6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75" name="Picture 11" descr="6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74" r:id="rId1"/>
    <p:sldLayoutId id="2147488575" r:id="rId2"/>
    <p:sldLayoutId id="2147488576" r:id="rId3"/>
    <p:sldLayoutId id="2147488577" r:id="rId4"/>
    <p:sldLayoutId id="2147488578" r:id="rId5"/>
    <p:sldLayoutId id="2147488579" r:id="rId6"/>
    <p:sldLayoutId id="2147488580" r:id="rId7"/>
    <p:sldLayoutId id="2147488581" r:id="rId8"/>
    <p:sldLayoutId id="2147488582" r:id="rId9"/>
    <p:sldLayoutId id="2147488583" r:id="rId10"/>
    <p:sldLayoutId id="2147488584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DDDC47BE-B189-4ADE-9357-88DA3DECA37E}" type="slidenum">
              <a:rPr lang="pl-PL" sz="1200" b="1" smtClean="0">
                <a:solidFill>
                  <a:srgbClr val="00689E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>
              <a:solidFill>
                <a:srgbClr val="00689E"/>
              </a:solidFill>
              <a:latin typeface="Arial" charset="0"/>
            </a:endParaRPr>
          </a:p>
        </p:txBody>
      </p:sp>
      <p:sp>
        <p:nvSpPr>
          <p:cNvPr id="3379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33797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8" name="Picture 10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9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85" r:id="rId1"/>
    <p:sldLayoutId id="2147488586" r:id="rId2"/>
    <p:sldLayoutId id="2147488587" r:id="rId3"/>
    <p:sldLayoutId id="2147488588" r:id="rId4"/>
    <p:sldLayoutId id="2147488589" r:id="rId5"/>
    <p:sldLayoutId id="2147488590" r:id="rId6"/>
    <p:sldLayoutId id="2147488591" r:id="rId7"/>
    <p:sldLayoutId id="2147488592" r:id="rId8"/>
    <p:sldLayoutId id="2147488593" r:id="rId9"/>
    <p:sldLayoutId id="2147488594" r:id="rId10"/>
    <p:sldLayoutId id="2147488595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8" name="Picture 10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136EEF6B-7CFE-4E83-9E45-E5B890BF87DD}" type="slidenum">
              <a:rPr lang="pl-PL" sz="1200" b="1" smtClean="0">
                <a:solidFill>
                  <a:srgbClr val="155193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>
              <a:solidFill>
                <a:srgbClr val="155193"/>
              </a:solidFill>
              <a:latin typeface="Arial" charset="0"/>
            </a:endParaRPr>
          </a:p>
        </p:txBody>
      </p:sp>
      <p:sp>
        <p:nvSpPr>
          <p:cNvPr id="3482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34821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2" name="Picture 12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3" name="Picture 13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96" r:id="rId1"/>
    <p:sldLayoutId id="2147488597" r:id="rId2"/>
    <p:sldLayoutId id="2147488598" r:id="rId3"/>
    <p:sldLayoutId id="2147488599" r:id="rId4"/>
    <p:sldLayoutId id="2147488600" r:id="rId5"/>
    <p:sldLayoutId id="2147488601" r:id="rId6"/>
    <p:sldLayoutId id="2147488602" r:id="rId7"/>
    <p:sldLayoutId id="2147488603" r:id="rId8"/>
    <p:sldLayoutId id="2147488604" r:id="rId9"/>
    <p:sldLayoutId id="2147488605" r:id="rId10"/>
    <p:sldLayoutId id="214748860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Picture 9" descr="C:\Users\Monika\Desktop\dane\Pisma i wizytówki\Prezentacje\Biuro Zamówień Publicznych\4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3" name="Picture 10" descr="C:\Users\Monika\Desktop\dane\Pisma i wizytówki\Prezentacje\Biuro Zamówień Publicznych\6.png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513" y="1536700"/>
            <a:ext cx="8247062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4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C6588D3F-E1AD-413C-B87D-3CCCE5AFD13F}" type="slidenum">
              <a:rPr lang="pl-PL" sz="1200" b="1" smtClean="0">
                <a:solidFill>
                  <a:srgbClr val="00AEEF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>
              <a:solidFill>
                <a:srgbClr val="00AEEF"/>
              </a:solidFill>
            </a:endParaRPr>
          </a:p>
        </p:txBody>
      </p:sp>
      <p:pic>
        <p:nvPicPr>
          <p:cNvPr id="35845" name="Picture 8" descr="C:\Users\Monika\Desktop\dane\Pisma i wizytówki\Prezentacje\Biuro Zamówień Publicznych\2.png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0015" r="-50015"/>
          <a:stretch>
            <a:fillRect/>
          </a:stretch>
        </p:blipFill>
        <p:spPr bwMode="auto">
          <a:xfrm>
            <a:off x="1011238" y="5911850"/>
            <a:ext cx="60325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6" name="Picture 10" descr="C:\Users\Monika\Desktop\dane\Pisma i wizytówki\Prezentacje\Biuro Zamówień Publicznych\6.png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0015" b="-50015"/>
          <a:stretch>
            <a:fillRect/>
          </a:stretch>
        </p:blipFill>
        <p:spPr bwMode="auto">
          <a:xfrm>
            <a:off x="417513" y="5846763"/>
            <a:ext cx="8247062" cy="60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7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607" r:id="rId1"/>
    <p:sldLayoutId id="2147488608" r:id="rId2"/>
    <p:sldLayoutId id="2147488609" r:id="rId3"/>
    <p:sldLayoutId id="2147488610" r:id="rId4"/>
    <p:sldLayoutId id="2147488611" r:id="rId5"/>
    <p:sldLayoutId id="2147488612" r:id="rId6"/>
    <p:sldLayoutId id="2147488613" r:id="rId7"/>
    <p:sldLayoutId id="2147488614" r:id="rId8"/>
    <p:sldLayoutId id="2147488615" r:id="rId9"/>
    <p:sldLayoutId id="2147488616" r:id="rId10"/>
    <p:sldLayoutId id="214748861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6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74AF63DD-D131-4CF3-8FF1-1F2512225EB4}" type="slidenum">
              <a:rPr lang="pl-PL" sz="1200" b="1" smtClean="0">
                <a:solidFill>
                  <a:srgbClr val="0F0102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>
              <a:solidFill>
                <a:srgbClr val="0F0102"/>
              </a:solidFill>
              <a:latin typeface="Arial" charset="0"/>
            </a:endParaRPr>
          </a:p>
        </p:txBody>
      </p:sp>
      <p:sp>
        <p:nvSpPr>
          <p:cNvPr id="3686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36869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70" name="Picture 10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71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76925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18" r:id="rId1"/>
    <p:sldLayoutId id="2147488619" r:id="rId2"/>
    <p:sldLayoutId id="2147488620" r:id="rId3"/>
    <p:sldLayoutId id="2147488621" r:id="rId4"/>
    <p:sldLayoutId id="2147488622" r:id="rId5"/>
    <p:sldLayoutId id="2147488623" r:id="rId6"/>
    <p:sldLayoutId id="2147488624" r:id="rId7"/>
    <p:sldLayoutId id="2147488625" r:id="rId8"/>
    <p:sldLayoutId id="2147488626" r:id="rId9"/>
    <p:sldLayoutId id="2147488627" r:id="rId10"/>
    <p:sldLayoutId id="2147488628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10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486D18A3-1316-4A99-8E7C-AE6A48BBEAF5}" type="slidenum">
              <a:rPr lang="pl-PL" sz="1200" b="1" smtClean="0">
                <a:solidFill>
                  <a:srgbClr val="4D4D4D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>
              <a:solidFill>
                <a:srgbClr val="4D4D4D"/>
              </a:solidFill>
              <a:latin typeface="Arial" charset="0"/>
            </a:endParaRPr>
          </a:p>
        </p:txBody>
      </p:sp>
      <p:sp>
        <p:nvSpPr>
          <p:cNvPr id="3789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37893" name="Picture 8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4" name="Picture 9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5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29" r:id="rId1"/>
    <p:sldLayoutId id="2147488630" r:id="rId2"/>
    <p:sldLayoutId id="2147488631" r:id="rId3"/>
    <p:sldLayoutId id="2147488632" r:id="rId4"/>
    <p:sldLayoutId id="2147488633" r:id="rId5"/>
    <p:sldLayoutId id="2147488634" r:id="rId6"/>
    <p:sldLayoutId id="2147488635" r:id="rId7"/>
    <p:sldLayoutId id="2147488636" r:id="rId8"/>
    <p:sldLayoutId id="2147488637" r:id="rId9"/>
    <p:sldLayoutId id="2147488638" r:id="rId10"/>
    <p:sldLayoutId id="214748863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5" descr="ramka_slajd z piktogramami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915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38916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40" r:id="rId1"/>
    <p:sldLayoutId id="2147488641" r:id="rId2"/>
    <p:sldLayoutId id="2147488642" r:id="rId3"/>
    <p:sldLayoutId id="2147488643" r:id="rId4"/>
    <p:sldLayoutId id="2147488644" r:id="rId5"/>
    <p:sldLayoutId id="2147488645" r:id="rId6"/>
    <p:sldLayoutId id="2147488646" r:id="rId7"/>
    <p:sldLayoutId id="2147488647" r:id="rId8"/>
    <p:sldLayoutId id="2147488648" r:id="rId9"/>
    <p:sldLayoutId id="2147488649" r:id="rId10"/>
    <p:sldLayoutId id="2147488650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39939" name="Picture 2" descr="C:\Users\Monika\Desktop\dane\Pisma i wizytówki\Prezentacje\Biuro Audytu Wewnętrznego\4białe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40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51" r:id="rId1"/>
    <p:sldLayoutId id="2147488652" r:id="rId2"/>
    <p:sldLayoutId id="2147488653" r:id="rId3"/>
    <p:sldLayoutId id="2147488654" r:id="rId4"/>
    <p:sldLayoutId id="2147488655" r:id="rId5"/>
    <p:sldLayoutId id="2147488656" r:id="rId6"/>
    <p:sldLayoutId id="2147488657" r:id="rId7"/>
    <p:sldLayoutId id="2147488658" r:id="rId8"/>
    <p:sldLayoutId id="2147488659" r:id="rId9"/>
    <p:sldLayoutId id="2147488660" r:id="rId10"/>
    <p:sldLayoutId id="214748866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189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4099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86" r:id="rId1"/>
    <p:sldLayoutId id="2147488387" r:id="rId2"/>
    <p:sldLayoutId id="2147488388" r:id="rId3"/>
    <p:sldLayoutId id="2147488389" r:id="rId4"/>
    <p:sldLayoutId id="2147488390" r:id="rId5"/>
    <p:sldLayoutId id="2147488391" r:id="rId6"/>
    <p:sldLayoutId id="2147488392" r:id="rId7"/>
    <p:sldLayoutId id="2147488393" r:id="rId8"/>
    <p:sldLayoutId id="2147488394" r:id="rId9"/>
    <p:sldLayoutId id="2147488395" r:id="rId10"/>
    <p:sldLayoutId id="214748839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2" name="Picture 5" descr="ramka_slajd z piktogramami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63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40964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62" r:id="rId1"/>
    <p:sldLayoutId id="2147488663" r:id="rId2"/>
    <p:sldLayoutId id="2147488664" r:id="rId3"/>
    <p:sldLayoutId id="2147488665" r:id="rId4"/>
    <p:sldLayoutId id="2147488666" r:id="rId5"/>
    <p:sldLayoutId id="2147488667" r:id="rId6"/>
    <p:sldLayoutId id="2147488668" r:id="rId7"/>
    <p:sldLayoutId id="2147488669" r:id="rId8"/>
    <p:sldLayoutId id="2147488670" r:id="rId9"/>
    <p:sldLayoutId id="2147488671" r:id="rId10"/>
    <p:sldLayoutId id="214748867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41987" name="Picture 2" descr="C:\Users\Monika\Desktop\dane\Pisma i wizytówki\Prezentacje\Biuro Audytu Wewnętrznego\4białe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88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73" r:id="rId1"/>
    <p:sldLayoutId id="2147488674" r:id="rId2"/>
    <p:sldLayoutId id="2147488675" r:id="rId3"/>
    <p:sldLayoutId id="2147488676" r:id="rId4"/>
    <p:sldLayoutId id="2147488677" r:id="rId5"/>
    <p:sldLayoutId id="2147488678" r:id="rId6"/>
    <p:sldLayoutId id="2147488679" r:id="rId7"/>
    <p:sldLayoutId id="2147488680" r:id="rId8"/>
    <p:sldLayoutId id="2147488681" r:id="rId9"/>
    <p:sldLayoutId id="2147488682" r:id="rId10"/>
    <p:sldLayoutId id="214748868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8684" r:id="rId1"/>
    <p:sldLayoutId id="2147488685" r:id="rId2"/>
    <p:sldLayoutId id="2147488686" r:id="rId3"/>
    <p:sldLayoutId id="2147488687" r:id="rId4"/>
    <p:sldLayoutId id="2147488688" r:id="rId5"/>
    <p:sldLayoutId id="2147488689" r:id="rId6"/>
    <p:sldLayoutId id="2147488690" r:id="rId7"/>
    <p:sldLayoutId id="2147488691" r:id="rId8"/>
    <p:sldLayoutId id="2147488692" r:id="rId9"/>
    <p:sldLayoutId id="2147488693" r:id="rId10"/>
    <p:sldLayoutId id="2147488694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701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702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189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5123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97" r:id="rId1"/>
    <p:sldLayoutId id="2147488398" r:id="rId2"/>
    <p:sldLayoutId id="2147488399" r:id="rId3"/>
    <p:sldLayoutId id="2147488400" r:id="rId4"/>
    <p:sldLayoutId id="2147488401" r:id="rId5"/>
    <p:sldLayoutId id="2147488402" r:id="rId6"/>
    <p:sldLayoutId id="2147488403" r:id="rId7"/>
    <p:sldLayoutId id="2147488404" r:id="rId8"/>
    <p:sldLayoutId id="2147488405" r:id="rId9"/>
    <p:sldLayoutId id="2147488406" r:id="rId10"/>
    <p:sldLayoutId id="214748840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4E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6147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08" r:id="rId1"/>
    <p:sldLayoutId id="2147488409" r:id="rId2"/>
    <p:sldLayoutId id="2147488410" r:id="rId3"/>
    <p:sldLayoutId id="2147488411" r:id="rId4"/>
    <p:sldLayoutId id="2147488412" r:id="rId5"/>
    <p:sldLayoutId id="2147488413" r:id="rId6"/>
    <p:sldLayoutId id="2147488414" r:id="rId7"/>
    <p:sldLayoutId id="2147488415" r:id="rId8"/>
    <p:sldLayoutId id="2147488416" r:id="rId9"/>
    <p:sldLayoutId id="2147488417" r:id="rId10"/>
    <p:sldLayoutId id="2147488418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4E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7171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19" r:id="rId1"/>
    <p:sldLayoutId id="2147488420" r:id="rId2"/>
    <p:sldLayoutId id="2147488421" r:id="rId3"/>
    <p:sldLayoutId id="2147488422" r:id="rId4"/>
    <p:sldLayoutId id="2147488423" r:id="rId5"/>
    <p:sldLayoutId id="2147488424" r:id="rId6"/>
    <p:sldLayoutId id="2147488425" r:id="rId7"/>
    <p:sldLayoutId id="2147488426" r:id="rId8"/>
    <p:sldLayoutId id="2147488427" r:id="rId9"/>
    <p:sldLayoutId id="2147488428" r:id="rId10"/>
    <p:sldLayoutId id="214748842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75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8195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30" r:id="rId1"/>
    <p:sldLayoutId id="2147488431" r:id="rId2"/>
    <p:sldLayoutId id="2147488432" r:id="rId3"/>
    <p:sldLayoutId id="2147488433" r:id="rId4"/>
    <p:sldLayoutId id="2147488434" r:id="rId5"/>
    <p:sldLayoutId id="2147488435" r:id="rId6"/>
    <p:sldLayoutId id="2147488436" r:id="rId7"/>
    <p:sldLayoutId id="2147488437" r:id="rId8"/>
    <p:sldLayoutId id="2147488438" r:id="rId9"/>
    <p:sldLayoutId id="2147488439" r:id="rId10"/>
    <p:sldLayoutId id="2147488440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75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pic>
        <p:nvPicPr>
          <p:cNvPr id="9219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41" r:id="rId1"/>
    <p:sldLayoutId id="2147488442" r:id="rId2"/>
    <p:sldLayoutId id="2147488443" r:id="rId3"/>
    <p:sldLayoutId id="2147488444" r:id="rId4"/>
    <p:sldLayoutId id="2147488445" r:id="rId5"/>
    <p:sldLayoutId id="2147488446" r:id="rId6"/>
    <p:sldLayoutId id="2147488447" r:id="rId7"/>
    <p:sldLayoutId id="2147488448" r:id="rId8"/>
    <p:sldLayoutId id="2147488449" r:id="rId9"/>
    <p:sldLayoutId id="2147488450" r:id="rId10"/>
    <p:sldLayoutId id="214748845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slideLayout" Target="../slideLayouts/slideLayout101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0.xml"/><Relationship Id="rId4" Type="http://schemas.openxmlformats.org/officeDocument/2006/relationships/image" Target="../media/image50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1.xml"/><Relationship Id="rId4" Type="http://schemas.openxmlformats.org/officeDocument/2006/relationships/image" Target="../media/image50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2.xml"/><Relationship Id="rId5" Type="http://schemas.openxmlformats.org/officeDocument/2006/relationships/image" Target="../media/image50.emf"/><Relationship Id="rId4" Type="http://schemas.openxmlformats.org/officeDocument/2006/relationships/image" Target="../media/image4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lodzkie.ksow.pl/" TargetMode="External"/><Relationship Id="rId2" Type="http://schemas.openxmlformats.org/officeDocument/2006/relationships/slideLayout" Target="../slideLayouts/slideLayout101.xml"/><Relationship Id="rId1" Type="http://schemas.openxmlformats.org/officeDocument/2006/relationships/tags" Target="../tags/tag13.xml"/><Relationship Id="rId4" Type="http://schemas.openxmlformats.org/officeDocument/2006/relationships/image" Target="../media/image4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2.xml"/><Relationship Id="rId4" Type="http://schemas.openxmlformats.org/officeDocument/2006/relationships/image" Target="../media/image5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3.xml"/><Relationship Id="rId4" Type="http://schemas.openxmlformats.org/officeDocument/2006/relationships/image" Target="../media/image5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4.xml"/><Relationship Id="rId4" Type="http://schemas.openxmlformats.org/officeDocument/2006/relationships/image" Target="../media/image50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5.xml"/><Relationship Id="rId4" Type="http://schemas.openxmlformats.org/officeDocument/2006/relationships/image" Target="../media/image50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1.xml"/><Relationship Id="rId7" Type="http://schemas.openxmlformats.org/officeDocument/2006/relationships/image" Target="../media/image51.emf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package" Target="../embeddings/Microsoft_Excel_Worksheet1.xlsx"/><Relationship Id="rId5" Type="http://schemas.openxmlformats.org/officeDocument/2006/relationships/image" Target="../media/image50.emf"/><Relationship Id="rId4" Type="http://schemas.openxmlformats.org/officeDocument/2006/relationships/image" Target="../media/image4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7.xml"/><Relationship Id="rId4" Type="http://schemas.openxmlformats.org/officeDocument/2006/relationships/image" Target="../media/image50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8.xml"/><Relationship Id="rId4" Type="http://schemas.openxmlformats.org/officeDocument/2006/relationships/image" Target="../media/image50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9.xml"/><Relationship Id="rId4" Type="http://schemas.openxmlformats.org/officeDocument/2006/relationships/image" Target="../media/image5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088" y="332656"/>
            <a:ext cx="8177212" cy="592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abriola" pitchFamily="82" charset="0"/>
              <a:ea typeface="+mn-ea"/>
              <a:cs typeface="Segoe UI" pitchFamily="34" charset="0"/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467544" y="404664"/>
            <a:ext cx="8136904" cy="472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pl-PL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pl-PL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Współpraca Lokalnych Grup Działania </a:t>
            </a:r>
            <a:br>
              <a:rPr kumimoji="0" lang="pl-PL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</a:br>
            <a:r>
              <a:rPr kumimoji="0" lang="pl-PL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z Jednostką Regionalną</a:t>
            </a:r>
            <a:r>
              <a:rPr kumimoji="0" lang="pl-PL" sz="3200" b="1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KSOW Województwa Łódzkiego</a:t>
            </a:r>
            <a:endParaRPr kumimoji="0" lang="pl-PL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pl-PL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lang="pl-PL" sz="900" b="1" dirty="0">
              <a:solidFill>
                <a:srgbClr val="FFFFFF"/>
              </a:solidFill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lang="pl-PL" sz="900" b="1" dirty="0">
              <a:solidFill>
                <a:srgbClr val="FFFFFF"/>
              </a:solidFill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lang="pl-PL" sz="900" b="1" dirty="0">
              <a:solidFill>
                <a:srgbClr val="FFFFFF"/>
              </a:solidFill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pl-PL" sz="1200" b="1" dirty="0">
                <a:solidFill>
                  <a:srgbClr val="FFFFFF"/>
                </a:solidFill>
              </a:rPr>
              <a:t>Uniejów, 28 - 29 marca 2019 roku</a:t>
            </a:r>
            <a:endParaRPr kumimoji="0" lang="pl-PL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pic>
        <p:nvPicPr>
          <p:cNvPr id="5" name="Picture 4" descr="C:\Users\malgorzata.bilska\Pictures\Desktop\Przechwytywanie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605456"/>
            <a:ext cx="9144000" cy="1252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6499835"/>
      </p:ext>
    </p:extLst>
  </p:cSld>
  <p:clrMapOvr>
    <a:masterClrMapping/>
  </p:clrMapOvr>
  <p:transition spd="slow">
    <p:split orient="vert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</a:p>
        </p:txBody>
      </p:sp>
      <p:grpSp>
        <p:nvGrpSpPr>
          <p:cNvPr id="2" name="Grupa 1"/>
          <p:cNvGrpSpPr/>
          <p:nvPr/>
        </p:nvGrpSpPr>
        <p:grpSpPr>
          <a:xfrm>
            <a:off x="395771" y="2399930"/>
            <a:ext cx="8390460" cy="1419888"/>
            <a:chOff x="387223" y="1970884"/>
            <a:chExt cx="8390460" cy="1419888"/>
          </a:xfrm>
        </p:grpSpPr>
        <p:sp>
          <p:nvSpPr>
            <p:cNvPr id="21" name="Prostokąt 20"/>
            <p:cNvSpPr/>
            <p:nvPr/>
          </p:nvSpPr>
          <p:spPr>
            <a:xfrm>
              <a:off x="387223" y="1970884"/>
              <a:ext cx="1152525" cy="1368425"/>
            </a:xfrm>
            <a:prstGeom prst="rect">
              <a:avLst/>
            </a:prstGeom>
            <a:solidFill>
              <a:srgbClr val="DA1C5C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Nabór operacji partnerów:</a:t>
              </a:r>
              <a:endParaRPr kumimoji="0" lang="pl-PL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2" name="Prostokąt 21"/>
            <p:cNvSpPr/>
            <p:nvPr/>
          </p:nvSpPr>
          <p:spPr>
            <a:xfrm>
              <a:off x="1866258" y="2022347"/>
              <a:ext cx="1152525" cy="1368425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Ogłoszenie </a:t>
              </a:r>
              <a:br>
                <a:rPr kumimoji="0" lang="pl-P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</a:br>
              <a:r>
                <a:rPr kumimoji="0" lang="pl-P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o naborze</a:t>
              </a:r>
            </a:p>
          </p:txBody>
        </p:sp>
        <p:sp>
          <p:nvSpPr>
            <p:cNvPr id="23" name="Prostokąt 22"/>
            <p:cNvSpPr/>
            <p:nvPr/>
          </p:nvSpPr>
          <p:spPr>
            <a:xfrm>
              <a:off x="3245445" y="2005921"/>
              <a:ext cx="1152525" cy="1368425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Wnioski </a:t>
              </a:r>
              <a:br>
                <a:rPr kumimoji="0" lang="pl-P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</a:br>
              <a:r>
                <a:rPr kumimoji="0" lang="pl-P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o wybór operacji</a:t>
              </a:r>
            </a:p>
          </p:txBody>
        </p:sp>
        <p:sp>
          <p:nvSpPr>
            <p:cNvPr id="24" name="Prostokąt 23"/>
            <p:cNvSpPr/>
            <p:nvPr/>
          </p:nvSpPr>
          <p:spPr>
            <a:xfrm>
              <a:off x="4572518" y="2006959"/>
              <a:ext cx="1152525" cy="1368425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Opiniowanie Planu Operacyjnego przez WGR ds. KSOW</a:t>
              </a:r>
            </a:p>
          </p:txBody>
        </p:sp>
        <p:sp>
          <p:nvSpPr>
            <p:cNvPr id="42" name="Prostokąt 41"/>
            <p:cNvSpPr/>
            <p:nvPr/>
          </p:nvSpPr>
          <p:spPr>
            <a:xfrm>
              <a:off x="7292912" y="1973145"/>
              <a:ext cx="1152525" cy="1368425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>
                <a:defRPr/>
              </a:pPr>
              <a:r>
                <a:rPr lang="pl-PL" sz="1200" dirty="0">
                  <a:solidFill>
                    <a:srgbClr val="FFFFFF"/>
                  </a:solidFill>
                </a:rPr>
                <a:t>Akceptacja Planu Operacyjnego przez GR KSOW przy </a:t>
              </a:r>
              <a:r>
                <a:rPr lang="pl-PL" sz="1200" dirty="0" err="1">
                  <a:solidFill>
                    <a:srgbClr val="FFFFFF"/>
                  </a:solidFill>
                </a:rPr>
                <a:t>MRiRW</a:t>
              </a:r>
              <a:endParaRPr lang="pl-PL" sz="1200" dirty="0">
                <a:solidFill>
                  <a:srgbClr val="FFFFFF"/>
                </a:solidFill>
              </a:endParaRPr>
            </a:p>
          </p:txBody>
        </p:sp>
        <p:cxnSp>
          <p:nvCxnSpPr>
            <p:cNvPr id="57" name="Łącznik prosty ze strzałką 56"/>
            <p:cNvCxnSpPr/>
            <p:nvPr/>
          </p:nvCxnSpPr>
          <p:spPr>
            <a:xfrm>
              <a:off x="3018783" y="2750350"/>
              <a:ext cx="215627" cy="6477"/>
            </a:xfrm>
            <a:prstGeom prst="straightConnector1">
              <a:avLst/>
            </a:prstGeom>
            <a:ln w="25400">
              <a:solidFill>
                <a:schemeClr val="accent6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Łącznik prosty ze strzałką 60"/>
            <p:cNvCxnSpPr/>
            <p:nvPr/>
          </p:nvCxnSpPr>
          <p:spPr>
            <a:xfrm>
              <a:off x="4414670" y="2756827"/>
              <a:ext cx="161616" cy="0"/>
            </a:xfrm>
            <a:prstGeom prst="straightConnector1">
              <a:avLst/>
            </a:prstGeom>
            <a:ln w="25400">
              <a:solidFill>
                <a:schemeClr val="accent6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Łącznik prosty ze strzałką 63"/>
            <p:cNvCxnSpPr/>
            <p:nvPr/>
          </p:nvCxnSpPr>
          <p:spPr>
            <a:xfrm>
              <a:off x="5731802" y="2706559"/>
              <a:ext cx="179725" cy="0"/>
            </a:xfrm>
            <a:prstGeom prst="straightConnector1">
              <a:avLst/>
            </a:prstGeom>
            <a:ln w="25400">
              <a:solidFill>
                <a:schemeClr val="accent6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Łącznik prosty ze strzałką 64"/>
            <p:cNvCxnSpPr/>
            <p:nvPr/>
          </p:nvCxnSpPr>
          <p:spPr>
            <a:xfrm>
              <a:off x="8445437" y="2674551"/>
              <a:ext cx="332246" cy="0"/>
            </a:xfrm>
            <a:prstGeom prst="straightConnector1">
              <a:avLst/>
            </a:prstGeom>
            <a:ln w="25400">
              <a:solidFill>
                <a:schemeClr val="accent6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Prostokąt 47"/>
            <p:cNvSpPr/>
            <p:nvPr/>
          </p:nvSpPr>
          <p:spPr>
            <a:xfrm>
              <a:off x="5918286" y="1990339"/>
              <a:ext cx="1152525" cy="1368425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cxnSp>
          <p:nvCxnSpPr>
            <p:cNvPr id="54" name="Łącznik prosty ze strzałką 53"/>
            <p:cNvCxnSpPr/>
            <p:nvPr/>
          </p:nvCxnSpPr>
          <p:spPr>
            <a:xfrm>
              <a:off x="7091999" y="2706559"/>
              <a:ext cx="179725" cy="0"/>
            </a:xfrm>
            <a:prstGeom prst="straightConnector1">
              <a:avLst/>
            </a:prstGeom>
            <a:ln w="25400">
              <a:solidFill>
                <a:schemeClr val="accent6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Prostokąt 31"/>
          <p:cNvSpPr/>
          <p:nvPr/>
        </p:nvSpPr>
        <p:spPr>
          <a:xfrm>
            <a:off x="347685" y="1377294"/>
            <a:ext cx="8363460" cy="1021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Zadania KSOW w Łódzkiem realizuje </a:t>
            </a: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jednostka regionalna KSOW</a:t>
            </a: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działająca w ramach struktury organizacyjnej Departamentu Funduszu Rozwoju Obszarów Wiejskich Urzędu Marszałkowskiego Województwa Łódzkiego. </a:t>
            </a:r>
          </a:p>
        </p:txBody>
      </p:sp>
      <p:grpSp>
        <p:nvGrpSpPr>
          <p:cNvPr id="19" name="Grupa 18"/>
          <p:cNvGrpSpPr/>
          <p:nvPr/>
        </p:nvGrpSpPr>
        <p:grpSpPr>
          <a:xfrm>
            <a:off x="615393" y="4342842"/>
            <a:ext cx="7845436" cy="1254036"/>
            <a:chOff x="615393" y="4342842"/>
            <a:chExt cx="7845436" cy="1254036"/>
          </a:xfrm>
        </p:grpSpPr>
        <p:sp>
          <p:nvSpPr>
            <p:cNvPr id="20" name="Prostokąt 19"/>
            <p:cNvSpPr/>
            <p:nvPr/>
          </p:nvSpPr>
          <p:spPr>
            <a:xfrm>
              <a:off x="615393" y="4342842"/>
              <a:ext cx="1039942" cy="122555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Partner KSOW </a:t>
              </a:r>
              <a:r>
                <a:rPr kumimoji="0" lang="pl-P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realizuje operację</a:t>
              </a:r>
            </a:p>
          </p:txBody>
        </p:sp>
        <p:sp>
          <p:nvSpPr>
            <p:cNvPr id="25" name="Prostokąt 24"/>
            <p:cNvSpPr/>
            <p:nvPr/>
          </p:nvSpPr>
          <p:spPr>
            <a:xfrm>
              <a:off x="2096532" y="4804715"/>
              <a:ext cx="1871662" cy="358775"/>
            </a:xfrm>
            <a:prstGeom prst="rect">
              <a:avLst/>
            </a:prstGeom>
            <a:solidFill>
              <a:srgbClr val="5564D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Umowy</a:t>
              </a:r>
            </a:p>
          </p:txBody>
        </p:sp>
        <p:sp>
          <p:nvSpPr>
            <p:cNvPr id="26" name="Prostokąt 25"/>
            <p:cNvSpPr/>
            <p:nvPr/>
          </p:nvSpPr>
          <p:spPr>
            <a:xfrm>
              <a:off x="2096532" y="4371328"/>
              <a:ext cx="1871662" cy="360363"/>
            </a:xfrm>
            <a:prstGeom prst="rect">
              <a:avLst/>
            </a:prstGeom>
            <a:solidFill>
              <a:srgbClr val="DA1C5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Wyłonienie wykonawców</a:t>
              </a:r>
            </a:p>
          </p:txBody>
        </p:sp>
        <p:sp>
          <p:nvSpPr>
            <p:cNvPr id="27" name="Prostokąt 26"/>
            <p:cNvSpPr/>
            <p:nvPr/>
          </p:nvSpPr>
          <p:spPr>
            <a:xfrm>
              <a:off x="2084772" y="5208030"/>
              <a:ext cx="1871662" cy="360362"/>
            </a:xfrm>
            <a:prstGeom prst="rect">
              <a:avLst/>
            </a:prstGeom>
            <a:solidFill>
              <a:srgbClr val="DA1C5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Opłacanie faktur</a:t>
              </a:r>
            </a:p>
          </p:txBody>
        </p:sp>
        <p:sp>
          <p:nvSpPr>
            <p:cNvPr id="28" name="Prostokąt 27"/>
            <p:cNvSpPr/>
            <p:nvPr/>
          </p:nvSpPr>
          <p:spPr>
            <a:xfrm>
              <a:off x="5786637" y="4371328"/>
              <a:ext cx="1152525" cy="122555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Wniosek refundacyjny do KSOW</a:t>
              </a:r>
            </a:p>
          </p:txBody>
        </p:sp>
        <p:sp>
          <p:nvSpPr>
            <p:cNvPr id="29" name="Prostokąt 28"/>
            <p:cNvSpPr/>
            <p:nvPr/>
          </p:nvSpPr>
          <p:spPr>
            <a:xfrm>
              <a:off x="7308304" y="4371328"/>
              <a:ext cx="1152525" cy="1225550"/>
            </a:xfrm>
            <a:prstGeom prst="rect">
              <a:avLst/>
            </a:prstGeom>
            <a:solidFill>
              <a:srgbClr val="DA1C5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Refundacja z KSOW kosztów poniesionych przez Partnera</a:t>
              </a:r>
            </a:p>
          </p:txBody>
        </p:sp>
        <p:sp>
          <p:nvSpPr>
            <p:cNvPr id="30" name="Prostokąt 29"/>
            <p:cNvSpPr/>
            <p:nvPr/>
          </p:nvSpPr>
          <p:spPr>
            <a:xfrm>
              <a:off x="4328557" y="4342842"/>
              <a:ext cx="1150937" cy="122555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prawozdanie/realizacja wskaźników</a:t>
              </a:r>
            </a:p>
          </p:txBody>
        </p:sp>
        <p:cxnSp>
          <p:nvCxnSpPr>
            <p:cNvPr id="31" name="Łącznik prosty ze strzałką 30"/>
            <p:cNvCxnSpPr/>
            <p:nvPr/>
          </p:nvCxnSpPr>
          <p:spPr>
            <a:xfrm>
              <a:off x="1703738" y="4955617"/>
              <a:ext cx="381034" cy="0"/>
            </a:xfrm>
            <a:prstGeom prst="straightConnector1">
              <a:avLst/>
            </a:prstGeom>
            <a:ln w="25400">
              <a:solidFill>
                <a:schemeClr val="accent6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Łącznik prosty ze strzałką 32"/>
            <p:cNvCxnSpPr>
              <a:endCxn id="27" idx="1"/>
            </p:cNvCxnSpPr>
            <p:nvPr/>
          </p:nvCxnSpPr>
          <p:spPr>
            <a:xfrm>
              <a:off x="1692848" y="5388211"/>
              <a:ext cx="391924" cy="0"/>
            </a:xfrm>
            <a:prstGeom prst="straightConnector1">
              <a:avLst/>
            </a:prstGeom>
            <a:ln w="25400">
              <a:solidFill>
                <a:schemeClr val="accent6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Łącznik prosty ze strzałką 33"/>
            <p:cNvCxnSpPr/>
            <p:nvPr/>
          </p:nvCxnSpPr>
          <p:spPr>
            <a:xfrm>
              <a:off x="3968194" y="5397339"/>
              <a:ext cx="332246" cy="0"/>
            </a:xfrm>
            <a:prstGeom prst="straightConnector1">
              <a:avLst/>
            </a:prstGeom>
            <a:ln w="25400">
              <a:solidFill>
                <a:schemeClr val="accent6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Łącznik prosty ze strzałką 34"/>
            <p:cNvCxnSpPr/>
            <p:nvPr/>
          </p:nvCxnSpPr>
          <p:spPr>
            <a:xfrm>
              <a:off x="6976058" y="5071932"/>
              <a:ext cx="332246" cy="0"/>
            </a:xfrm>
            <a:prstGeom prst="straightConnector1">
              <a:avLst/>
            </a:prstGeom>
            <a:ln w="25400">
              <a:solidFill>
                <a:schemeClr val="accent6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Krzyż 35"/>
            <p:cNvSpPr/>
            <p:nvPr/>
          </p:nvSpPr>
          <p:spPr>
            <a:xfrm>
              <a:off x="5497202" y="4935834"/>
              <a:ext cx="270247" cy="272196"/>
            </a:xfrm>
            <a:prstGeom prst="plus">
              <a:avLst/>
            </a:prstGeom>
            <a:ln w="25400">
              <a:solidFill>
                <a:schemeClr val="accent6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cxnSp>
        <p:nvCxnSpPr>
          <p:cNvPr id="38" name="Łącznik prosty ze strzałką 37"/>
          <p:cNvCxnSpPr/>
          <p:nvPr/>
        </p:nvCxnSpPr>
        <p:spPr>
          <a:xfrm>
            <a:off x="1692848" y="4588418"/>
            <a:ext cx="391924" cy="0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rostokąt 2"/>
          <p:cNvSpPr/>
          <p:nvPr/>
        </p:nvSpPr>
        <p:spPr>
          <a:xfrm>
            <a:off x="347685" y="335558"/>
            <a:ext cx="827242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sz="3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posób funkcjonowania KSOW w ramach konkursu dla Partnerów</a:t>
            </a:r>
          </a:p>
        </p:txBody>
      </p:sp>
      <p:sp>
        <p:nvSpPr>
          <p:cNvPr id="5" name="Prostokąt 4"/>
          <p:cNvSpPr/>
          <p:nvPr/>
        </p:nvSpPr>
        <p:spPr>
          <a:xfrm>
            <a:off x="5968964" y="2614666"/>
            <a:ext cx="114029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pl-PL" sz="1200" dirty="0">
                <a:solidFill>
                  <a:srgbClr val="FFFFFF"/>
                </a:solidFill>
                <a:latin typeface="Arial"/>
                <a:cs typeface="Arial"/>
              </a:rPr>
              <a:t>Umowa z partnerem KSOW na realizację operacji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486490"/>
      </p:ext>
    </p:extLst>
  </p:cSld>
  <p:clrMapOvr>
    <a:masterClrMapping/>
  </p:clrMapOvr>
  <p:transition spd="slow">
    <p:split orient="vert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167693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</a:p>
        </p:txBody>
      </p:sp>
      <p:sp>
        <p:nvSpPr>
          <p:cNvPr id="43" name="pole tekstowe 42"/>
          <p:cNvSpPr txBox="1">
            <a:spLocks noChangeArrowheads="1"/>
          </p:cNvSpPr>
          <p:nvPr/>
        </p:nvSpPr>
        <p:spPr bwMode="auto">
          <a:xfrm>
            <a:off x="714374" y="476672"/>
            <a:ext cx="745802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KSOW – finansowanie</a:t>
            </a:r>
          </a:p>
        </p:txBody>
      </p:sp>
      <p:sp>
        <p:nvSpPr>
          <p:cNvPr id="32" name="Prostokąt 31"/>
          <p:cNvSpPr/>
          <p:nvPr/>
        </p:nvSpPr>
        <p:spPr>
          <a:xfrm>
            <a:off x="385004" y="1052736"/>
            <a:ext cx="8435468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W obecnym funkcjonowaniu Sieci bardzo istotny jest sposób finansowania operacji. 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lvl="0" algn="just">
              <a:lnSpc>
                <a:spcPct val="150000"/>
              </a:lnSpc>
              <a:defRPr/>
            </a:pP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rzy realizacji operacji </a:t>
            </a: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artner KSOW początkowo sam musi ponieść wszystkie koszty </a:t>
            </a: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związane z jej przeprowadzeniem. Należy prowadzić o</a:t>
            </a:r>
            <a:r>
              <a:rPr lang="pl-PL" sz="1400" noProof="0" dirty="0">
                <a:solidFill>
                  <a:srgbClr val="000000"/>
                </a:solidFill>
              </a:rPr>
              <a:t>d</a:t>
            </a:r>
            <a:r>
              <a:rPr lang="pl-PL" sz="1400" dirty="0">
                <a:solidFill>
                  <a:srgbClr val="000000"/>
                </a:solidFill>
              </a:rPr>
              <a:t>dzielny system rachunkowości albo korzystać z odpowiedniego kodu rachunkowego, </a:t>
            </a: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dzięki czemu możliwe będzie wydzielenie wydatków tylko dla danej operacji. </a:t>
            </a:r>
          </a:p>
          <a:p>
            <a:pPr marL="0" marR="0" lvl="0" indent="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o przeprowadzeniu operacji partner KSOW sam opłaca faktury wystawione przez wykonawców usług składających się na projekt i dopiero po uiszczeniu wszelkich należności może składać do JR KSOW WŁ wniosek o refundację poniesionych kosztów. 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o weryfikacji tego wniosku i stwierdzeniu, że koszty zostały poniesione zgodnie z wymogami JR KSOW WŁ refunduje partnerowi środki, jednak nie wyższe niż zadeklarowane w umowie (jeżeli operacja będzie wymagała ostatecznie wyższych kosztów niż te, które partner oszacował w pierwszym wniosku złożonym do KSOW w konkursie, musi z własnych środków pokryć nadwyżkę – nie podlega ona refundacji). 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17524418"/>
      </p:ext>
    </p:extLst>
  </p:cSld>
  <p:clrMapOvr>
    <a:masterClrMapping/>
  </p:clrMapOvr>
  <p:transition spd="slow">
    <p:split orient="vert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167693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</a:p>
        </p:txBody>
      </p:sp>
      <p:sp>
        <p:nvSpPr>
          <p:cNvPr id="43" name="pole tekstowe 42"/>
          <p:cNvSpPr txBox="1">
            <a:spLocks noChangeArrowheads="1"/>
          </p:cNvSpPr>
          <p:nvPr/>
        </p:nvSpPr>
        <p:spPr bwMode="auto">
          <a:xfrm>
            <a:off x="354265" y="701903"/>
            <a:ext cx="8435469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Kierunki działań </a:t>
            </a:r>
            <a:r>
              <a:rPr lang="pl-PL" altLang="pl-PL" sz="3200" dirty="0">
                <a:solidFill>
                  <a:srgbClr val="000000"/>
                </a:solidFill>
              </a:rPr>
              <a:t>JR KSOW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na</a:t>
            </a:r>
            <a:r>
              <a:rPr kumimoji="0" lang="pl-PL" altLang="pl-PL" sz="32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najbliższe lata</a:t>
            </a: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385004" y="1052736"/>
            <a:ext cx="8435468" cy="375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 </a:t>
            </a:r>
          </a:p>
        </p:txBody>
      </p:sp>
      <p:sp>
        <p:nvSpPr>
          <p:cNvPr id="2" name="pole tekstowe 1"/>
          <p:cNvSpPr txBox="1"/>
          <p:nvPr/>
        </p:nvSpPr>
        <p:spPr>
          <a:xfrm>
            <a:off x="650338" y="2100048"/>
            <a:ext cx="7904797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/>
              <a:t>W ramach </a:t>
            </a:r>
            <a:r>
              <a:rPr lang="pl-PL"/>
              <a:t>Planu </a:t>
            </a:r>
            <a:r>
              <a:rPr lang="pl-PL" smtClean="0"/>
              <a:t>operacyjnego </a:t>
            </a:r>
            <a:r>
              <a:rPr lang="pl-PL" dirty="0"/>
              <a:t>na lata 2020-2021 Samorząd Województwa Łódzkiego planuje w szczególności:</a:t>
            </a:r>
          </a:p>
          <a:p>
            <a:endParaRPr lang="pl-P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dirty="0"/>
              <a:t>Wspierać </a:t>
            </a:r>
            <a:r>
              <a:rPr lang="pl-PL" dirty="0" smtClean="0"/>
              <a:t>rozwój przedsiębiorczości wśród producentów lokalnych </a:t>
            </a:r>
            <a:br>
              <a:rPr lang="pl-PL" dirty="0" smtClean="0"/>
            </a:br>
            <a:r>
              <a:rPr lang="pl-PL" dirty="0" smtClean="0"/>
              <a:t>i drobnego przetwórstwa;</a:t>
            </a:r>
            <a:endParaRPr lang="pl-PL" dirty="0"/>
          </a:p>
          <a:p>
            <a:endParaRPr lang="pl-P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dirty="0"/>
              <a:t>Wspierać </a:t>
            </a:r>
            <a:r>
              <a:rPr lang="pl-PL" dirty="0" smtClean="0"/>
              <a:t>projekty współpracy pomiędzy podmiotami działającymi </a:t>
            </a:r>
            <a:br>
              <a:rPr lang="pl-PL" dirty="0" smtClean="0"/>
            </a:br>
            <a:r>
              <a:rPr lang="pl-PL" dirty="0" smtClean="0"/>
              <a:t>w sektorze rolno-spożywczym;</a:t>
            </a:r>
            <a:endParaRPr lang="pl-PL" dirty="0"/>
          </a:p>
          <a:p>
            <a:endParaRPr lang="pl-P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dirty="0"/>
              <a:t>Promować alternatywne sposoby uprawy roślin i hodowli zwierząt </a:t>
            </a:r>
            <a:r>
              <a:rPr lang="pl-PL" dirty="0" smtClean="0"/>
              <a:t/>
            </a:r>
            <a:br>
              <a:rPr lang="pl-PL" dirty="0" smtClean="0"/>
            </a:br>
            <a:r>
              <a:rPr lang="pl-PL" dirty="0" smtClean="0"/>
              <a:t>(</a:t>
            </a:r>
            <a:r>
              <a:rPr lang="pl-PL" dirty="0"/>
              <a:t>m.in. rolnictwo ekologiczne, </a:t>
            </a:r>
            <a:r>
              <a:rPr lang="pl-PL" dirty="0" err="1"/>
              <a:t>agroleśnictwo</a:t>
            </a:r>
            <a:r>
              <a:rPr lang="pl-PL" dirty="0"/>
              <a:t>)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8195933"/>
      </p:ext>
    </p:extLst>
  </p:cSld>
  <p:clrMapOvr>
    <a:masterClrMapping/>
  </p:clrMapOvr>
  <p:transition spd="slow">
    <p:split orient="vert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088" y="332656"/>
            <a:ext cx="8177212" cy="592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abriola" pitchFamily="82" charset="0"/>
              <a:ea typeface="+mn-ea"/>
              <a:cs typeface="Segoe UI" pitchFamily="34" charset="0"/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578915" y="692696"/>
            <a:ext cx="8136904" cy="406265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pl-PL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pl-PL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Dziękuję za uwagę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lang="pl-PL" sz="900" b="1" dirty="0">
              <a:solidFill>
                <a:srgbClr val="FFFFFF"/>
              </a:solidFill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lang="pl-PL" sz="900" b="1" dirty="0">
              <a:solidFill>
                <a:srgbClr val="FFFFFF"/>
              </a:solidFill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pl-PL" sz="1050" b="1" dirty="0">
                <a:solidFill>
                  <a:srgbClr val="FFFFFF"/>
                </a:solidFill>
              </a:rPr>
              <a:t>Jednostka Regionalna KSOW Województwa Łódzkiego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pl-PL" sz="900" b="1" dirty="0">
                <a:solidFill>
                  <a:srgbClr val="FFFFFF"/>
                </a:solidFill>
              </a:rPr>
              <a:t>Al. Piłsudskiego 8</a:t>
            </a:r>
            <a:br>
              <a:rPr lang="pl-PL" sz="900" b="1" dirty="0">
                <a:solidFill>
                  <a:srgbClr val="FFFFFF"/>
                </a:solidFill>
              </a:rPr>
            </a:br>
            <a:r>
              <a:rPr lang="pl-PL" sz="900" b="1" dirty="0">
                <a:solidFill>
                  <a:srgbClr val="FFFFFF"/>
                </a:solidFill>
              </a:rPr>
              <a:t>90-051 Łódź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pl-PL" sz="900" b="1" dirty="0">
                <a:solidFill>
                  <a:srgbClr val="FFFFFF"/>
                </a:solidFill>
                <a:hlinkClick r:id="rId3"/>
              </a:rPr>
              <a:t>www.lodzkie.ksow.pl</a:t>
            </a:r>
            <a:endParaRPr lang="pl-PL" sz="900" b="1" dirty="0">
              <a:solidFill>
                <a:srgbClr val="FFFFFF"/>
              </a:solidFill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lang="pl-PL" sz="900" b="1" dirty="0">
              <a:solidFill>
                <a:srgbClr val="FFFFFF"/>
              </a:solidFill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pl-PL" sz="900" b="1" dirty="0">
                <a:solidFill>
                  <a:srgbClr val="FFFFFF"/>
                </a:solidFill>
              </a:rPr>
              <a:t>Uniejów, 28 – 29.03.2019 r.</a:t>
            </a:r>
            <a:endParaRPr kumimoji="0" lang="pl-PL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pic>
        <p:nvPicPr>
          <p:cNvPr id="5" name="Picture 4" descr="C:\Users\malgorzata.bilska\Pictures\Desktop\Przechwytywani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605456"/>
            <a:ext cx="9144000" cy="1252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94273003"/>
      </p:ext>
    </p:extLst>
  </p:cSld>
  <p:clrMapOvr>
    <a:masterClrMapping/>
  </p:clrMapOvr>
  <p:transition spd="slow">
    <p:split orient="vert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</a:p>
        </p:txBody>
      </p:sp>
      <p:sp>
        <p:nvSpPr>
          <p:cNvPr id="43" name="pole tekstowe 42"/>
          <p:cNvSpPr txBox="1">
            <a:spLocks noChangeArrowheads="1"/>
          </p:cNvSpPr>
          <p:nvPr/>
        </p:nvSpPr>
        <p:spPr bwMode="auto">
          <a:xfrm>
            <a:off x="714374" y="476672"/>
            <a:ext cx="745802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altLang="pl-PL" sz="3200" dirty="0">
                <a:solidFill>
                  <a:srgbClr val="000000"/>
                </a:solidFill>
              </a:rPr>
              <a:t>Cel funkcjonowania KSOW </a:t>
            </a: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385004" y="1176422"/>
            <a:ext cx="8411994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sz="1600" b="1" dirty="0"/>
              <a:t>Krajowa Sieć Obszarów Wiejskich</a:t>
            </a:r>
            <a:r>
              <a:rPr lang="pl-PL" sz="1600" dirty="0"/>
              <a:t> (KSOW) jest jednym z podmiotów wspierających rozwój obszarów wiejskich w ramach programu Rozwoju Obszarów Wiejskich (PROW)</a:t>
            </a:r>
            <a:br>
              <a:rPr lang="pl-PL" sz="1600" dirty="0"/>
            </a:br>
            <a:r>
              <a:rPr lang="pl-PL" sz="1600" dirty="0"/>
              <a:t>na lata 2014-2020 współfinansowanym ze środków Europejskiego Funduszu Rolnego </a:t>
            </a:r>
            <a:br>
              <a:rPr lang="pl-PL" sz="1600" dirty="0"/>
            </a:br>
            <a:r>
              <a:rPr lang="pl-PL" sz="1600" dirty="0"/>
              <a:t>na Rzecz Obszarów Wiejskich (EFRROW) w ramach pomocy finansowej Unii Europejskiej.</a:t>
            </a:r>
          </a:p>
          <a:p>
            <a:pPr algn="just">
              <a:lnSpc>
                <a:spcPct val="150000"/>
              </a:lnSpc>
            </a:pPr>
            <a:endParaRPr lang="pl-PL" sz="1600" b="1" dirty="0"/>
          </a:p>
          <a:p>
            <a:pPr algn="just">
              <a:lnSpc>
                <a:spcPct val="150000"/>
              </a:lnSpc>
            </a:pPr>
            <a:r>
              <a:rPr lang="pl-PL" sz="1600" b="1" dirty="0"/>
              <a:t>Głównym celem sieci</a:t>
            </a:r>
            <a:r>
              <a:rPr lang="pl-PL" sz="1600" dirty="0"/>
              <a:t>, zarówno na szczeblu lokalnym, regionalnym, krajowym</a:t>
            </a:r>
            <a:br>
              <a:rPr lang="pl-PL" sz="1600" dirty="0"/>
            </a:br>
            <a:r>
              <a:rPr lang="pl-PL" sz="1600" dirty="0"/>
              <a:t>oraz wspólnotowym, jest </a:t>
            </a:r>
            <a:r>
              <a:rPr lang="pl-PL" sz="1600" b="1" dirty="0"/>
              <a:t>zapewnienie efektywnego</a:t>
            </a:r>
            <a:r>
              <a:rPr lang="pl-PL" sz="1600" dirty="0"/>
              <a:t> i </a:t>
            </a:r>
            <a:r>
              <a:rPr lang="pl-PL" sz="1600" b="1" dirty="0"/>
              <a:t>dynamicznego rozwoju obszarów wiejskich </a:t>
            </a:r>
            <a:r>
              <a:rPr lang="pl-PL" sz="1600" dirty="0"/>
              <a:t>poprzez wymianę informacji i rozpowszechnienie dobrych praktyk w zakresie realizowanych programów/projektów dotyczących obszarów wiejskich, poprawę wdrażania instrumentów rozwoju obszarów wiejskich oraz zapewnienie efektywnej oceny wdrażania tych instrumentów.</a:t>
            </a:r>
            <a:endParaRPr lang="pl-PL" sz="1600" dirty="0">
              <a:effectLst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43747494"/>
      </p:ext>
    </p:extLst>
  </p:cSld>
  <p:clrMapOvr>
    <a:masterClrMapping/>
  </p:clrMapOvr>
  <p:transition spd="slow">
    <p:split orient="vert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</a:p>
        </p:txBody>
      </p:sp>
      <p:sp>
        <p:nvSpPr>
          <p:cNvPr id="43" name="pole tekstowe 42"/>
          <p:cNvSpPr txBox="1">
            <a:spLocks noChangeArrowheads="1"/>
          </p:cNvSpPr>
          <p:nvPr/>
        </p:nvSpPr>
        <p:spPr bwMode="auto">
          <a:xfrm>
            <a:off x="819528" y="558617"/>
            <a:ext cx="745802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altLang="pl-PL" sz="3200" dirty="0">
                <a:solidFill>
                  <a:srgbClr val="000000"/>
                </a:solidFill>
              </a:rPr>
              <a:t>Partnerstwo w działaniu</a:t>
            </a: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385004" y="1556792"/>
            <a:ext cx="8411994" cy="38933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lvl="0" algn="just">
              <a:lnSpc>
                <a:spcPct val="150000"/>
              </a:lnSpc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Zgodnie </a:t>
            </a:r>
            <a:r>
              <a:rPr lang="pl-PL" sz="1600" dirty="0">
                <a:solidFill>
                  <a:srgbClr val="000000"/>
                </a:solidFill>
              </a:rPr>
              <a:t>z </a:t>
            </a:r>
            <a:r>
              <a:rPr lang="pl-PL" sz="1600" b="1" dirty="0">
                <a:solidFill>
                  <a:srgbClr val="000000"/>
                </a:solidFill>
              </a:rPr>
              <a:t>§ 5 ust. 1 pkt 26 </a:t>
            </a:r>
            <a:r>
              <a:rPr lang="pl-PL" sz="1600" b="1" i="1" dirty="0">
                <a:solidFill>
                  <a:srgbClr val="000000"/>
                </a:solidFill>
              </a:rPr>
              <a:t>Umowy o warunkach i sposobie realizacji strategii rozwoju lokalnego kierowanego przez społeczność</a:t>
            </a:r>
            <a:r>
              <a:rPr lang="pl-PL" sz="1600" i="1" dirty="0">
                <a:solidFill>
                  <a:srgbClr val="000000"/>
                </a:solidFill>
              </a:rPr>
              <a:t> </a:t>
            </a:r>
            <a:r>
              <a:rPr lang="pl-PL" sz="1600" dirty="0">
                <a:solidFill>
                  <a:srgbClr val="000000"/>
                </a:solidFill>
              </a:rPr>
              <a:t>zawieranej pomiędzy Województwem Łódzkim a lokalną grupą działania, </a:t>
            </a:r>
            <a:r>
              <a:rPr lang="pl-PL" sz="1600" b="1" dirty="0">
                <a:solidFill>
                  <a:srgbClr val="000000"/>
                </a:solidFill>
              </a:rPr>
              <a:t>LGD zobowiązuje się do współpracy z Krajową Siecią Obszarów Wiejskich</a:t>
            </a:r>
            <a:r>
              <a:rPr lang="pl-PL" sz="1600" dirty="0">
                <a:solidFill>
                  <a:srgbClr val="000000"/>
                </a:solidFill>
              </a:rPr>
              <a:t>, o której mowa w art. 55 ustawy PROW oraz Komitetami Monitorującymi PROW, PO RYBY lub RPO, w szczególności w zakresie przekazywania informacji dotyczących realizacji LSR.</a:t>
            </a:r>
          </a:p>
          <a:p>
            <a:pPr lvl="0" algn="just">
              <a:lnSpc>
                <a:spcPct val="150000"/>
              </a:lnSpc>
              <a:defRPr/>
            </a:pPr>
            <a:endParaRPr lang="pl-PL" sz="1600" dirty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endParaRPr lang="pl-PL" sz="1600" dirty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endParaRPr lang="pl-PL" sz="1600" dirty="0">
              <a:solidFill>
                <a:srgbClr val="000000"/>
              </a:solidFill>
            </a:endParaRPr>
          </a:p>
          <a:p>
            <a:pPr marL="0" marR="0" lvl="0" indent="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4344022"/>
      </p:ext>
    </p:extLst>
  </p:cSld>
  <p:clrMapOvr>
    <a:masterClrMapping/>
  </p:clrMapOvr>
  <p:transition spd="slow">
    <p:split orient="vert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</a:p>
        </p:txBody>
      </p:sp>
      <p:sp>
        <p:nvSpPr>
          <p:cNvPr id="43" name="pole tekstowe 42"/>
          <p:cNvSpPr txBox="1">
            <a:spLocks noChangeArrowheads="1"/>
          </p:cNvSpPr>
          <p:nvPr/>
        </p:nvSpPr>
        <p:spPr bwMode="auto">
          <a:xfrm>
            <a:off x="793490" y="626458"/>
            <a:ext cx="7458025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altLang="pl-PL" sz="3200" dirty="0"/>
              <a:t>Dotychczasowa </a:t>
            </a:r>
            <a:r>
              <a:rPr lang="pl-PL" altLang="pl-PL" sz="3200" dirty="0" smtClean="0"/>
              <a:t>współpraca z LGD</a:t>
            </a:r>
            <a:endParaRPr lang="pl-PL" altLang="pl-PL" sz="3200" dirty="0"/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altLang="pl-PL" sz="3200" dirty="0"/>
              <a:t>od stycznia </a:t>
            </a:r>
            <a:r>
              <a:rPr lang="pl-PL" altLang="pl-PL" sz="2800" dirty="0"/>
              <a:t>2016 r. do grudnia 2018 r.</a:t>
            </a:r>
            <a:endParaRPr kumimoji="0" lang="pl-PL" altLang="pl-PL" sz="2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502939"/>
              </p:ext>
            </p:extLst>
          </p:nvPr>
        </p:nvGraphicFramePr>
        <p:xfrm>
          <a:off x="516093" y="1772816"/>
          <a:ext cx="8064894" cy="288369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4414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4414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4414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4414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34414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34414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1287433">
                <a:tc gridSpan="2">
                  <a:txBody>
                    <a:bodyPr/>
                    <a:lstStyle/>
                    <a:p>
                      <a:pPr algn="ctr"/>
                      <a:r>
                        <a:rPr lang="pl-PL" dirty="0"/>
                        <a:t>Operacje PARTNERSKIE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pl-PL" dirty="0"/>
                        <a:t>Operacje           WŁASNE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pl-PL" dirty="0"/>
                        <a:t>SUMA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51378">
                <a:tc>
                  <a:txBody>
                    <a:bodyPr/>
                    <a:lstStyle/>
                    <a:p>
                      <a:pPr algn="ctr"/>
                      <a:r>
                        <a:rPr lang="pl-PL" sz="1400" dirty="0"/>
                        <a:t>Liczba Operacji partnerskich</a:t>
                      </a:r>
                    </a:p>
                    <a:p>
                      <a:pPr algn="ctr"/>
                      <a:r>
                        <a:rPr lang="pl-PL" sz="1400" dirty="0"/>
                        <a:t>(szt.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dirty="0"/>
                        <a:t>Kwota Operacji partnerskich</a:t>
                      </a:r>
                    </a:p>
                    <a:p>
                      <a:pPr algn="ctr"/>
                      <a:r>
                        <a:rPr lang="pl-PL" sz="1400" dirty="0"/>
                        <a:t>(w</a:t>
                      </a:r>
                      <a:r>
                        <a:rPr lang="pl-PL" sz="1400" baseline="0" dirty="0"/>
                        <a:t> PLN)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dirty="0"/>
                        <a:t>Liczba operacji własnych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dirty="0"/>
                        <a:t>(szt.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dirty="0"/>
                        <a:t>Kwota operacji własnych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dirty="0"/>
                        <a:t>(w</a:t>
                      </a:r>
                      <a:r>
                        <a:rPr lang="pl-PL" sz="1400" baseline="0" dirty="0"/>
                        <a:t> PLN)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dirty="0"/>
                        <a:t>Ogółem liczba operacji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dirty="0"/>
                        <a:t>(szt.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dirty="0"/>
                        <a:t>Ogółem kwota</a:t>
                      </a:r>
                      <a:r>
                        <a:rPr lang="pl-PL" sz="1400" baseline="0" dirty="0"/>
                        <a:t> operacji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dirty="0"/>
                        <a:t>(w</a:t>
                      </a:r>
                      <a:r>
                        <a:rPr lang="pl-PL" sz="1400" baseline="0" dirty="0"/>
                        <a:t> PLN)</a:t>
                      </a:r>
                      <a:endParaRPr lang="pl-PL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51378">
                <a:tc>
                  <a:txBody>
                    <a:bodyPr/>
                    <a:lstStyle/>
                    <a:p>
                      <a:pPr algn="ctr"/>
                      <a:r>
                        <a:rPr lang="pl-PL" sz="1400" b="1" dirty="0" smtClean="0"/>
                        <a:t>5</a:t>
                      </a:r>
                      <a:endParaRPr lang="pl-PL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b="1" dirty="0"/>
                        <a:t>156 419,0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b="1" dirty="0" smtClean="0"/>
                        <a:t>5</a:t>
                      </a:r>
                      <a:endParaRPr lang="pl-PL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b="1" dirty="0" smtClean="0"/>
                        <a:t>144 321,10</a:t>
                      </a:r>
                      <a:endParaRPr lang="pl-PL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b="1" dirty="0" smtClean="0"/>
                        <a:t>10</a:t>
                      </a:r>
                      <a:endParaRPr lang="pl-PL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b="1" dirty="0" smtClean="0"/>
                        <a:t>300 740,10</a:t>
                      </a:r>
                      <a:endParaRPr lang="pl-PL" sz="14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79928262"/>
      </p:ext>
    </p:extLst>
  </p:cSld>
  <p:clrMapOvr>
    <a:masterClrMapping/>
  </p:clrMapOvr>
  <p:transition spd="slow">
    <p:split orient="vert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</a:p>
        </p:txBody>
      </p:sp>
      <p:sp>
        <p:nvSpPr>
          <p:cNvPr id="43" name="pole tekstowe 42"/>
          <p:cNvSpPr txBox="1">
            <a:spLocks noChangeArrowheads="1"/>
          </p:cNvSpPr>
          <p:nvPr/>
        </p:nvSpPr>
        <p:spPr bwMode="auto">
          <a:xfrm>
            <a:off x="714374" y="404664"/>
            <a:ext cx="745802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altLang="pl-PL" sz="3200" dirty="0">
                <a:solidFill>
                  <a:srgbClr val="000000"/>
                </a:solidFill>
              </a:rPr>
              <a:t>Dotychczasowa współpraca</a:t>
            </a: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342544" y="908720"/>
            <a:ext cx="8411994" cy="25391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  <a:defRPr/>
            </a:pPr>
            <a:r>
              <a:rPr lang="pl-PL" sz="1600" dirty="0" smtClean="0"/>
              <a:t>Projekty </a:t>
            </a:r>
            <a:r>
              <a:rPr lang="pl-PL" sz="1600" dirty="0"/>
              <a:t>zrealizowane dotychczas we współpracy JR KSOW WŁ z Lokalnymi Grupami Działania:</a:t>
            </a:r>
          </a:p>
          <a:p>
            <a:pPr lvl="0" algn="just">
              <a:lnSpc>
                <a:spcPct val="150000"/>
              </a:lnSpc>
              <a:defRPr/>
            </a:pPr>
            <a:endParaRPr lang="pl-PL" sz="1600" dirty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endParaRPr lang="pl-PL" sz="1600" dirty="0" smtClean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endParaRPr lang="pl-PL" sz="1600" dirty="0" smtClean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endParaRPr lang="pl-PL" sz="1600" dirty="0">
              <a:solidFill>
                <a:srgbClr val="000000"/>
              </a:solidFill>
            </a:endParaRPr>
          </a:p>
          <a:p>
            <a:pPr marL="0" marR="0" lvl="0" indent="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 </a:t>
            </a:r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9723026"/>
              </p:ext>
            </p:extLst>
          </p:nvPr>
        </p:nvGraphicFramePr>
        <p:xfrm>
          <a:off x="4591001" y="1772816"/>
          <a:ext cx="3384376" cy="291620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38437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449992">
                <a:tc>
                  <a:txBody>
                    <a:bodyPr/>
                    <a:lstStyle/>
                    <a:p>
                      <a:pPr algn="ctr"/>
                      <a:r>
                        <a:rPr lang="pl-PL" sz="1600" dirty="0" smtClean="0"/>
                        <a:t>Operacje własne</a:t>
                      </a:r>
                      <a:endParaRPr lang="pl-PL" sz="1600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58120"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Organizacja stoiska podczas targów AGROTRAVEL 2016</a:t>
                      </a:r>
                      <a:endParaRPr lang="pl-PL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algn="l"/>
                      <a:r>
                        <a:rPr lang="pl-PL" sz="10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otkanie przedstawicieli LGD z województwa łódzkiego </a:t>
                      </a:r>
                      <a:endParaRPr lang="pl-PL" sz="10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algn="l"/>
                      <a:r>
                        <a:rPr lang="pl-PL" sz="10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otkanie przedstawicieli LGD w Smardzewicach </a:t>
                      </a:r>
                      <a:endParaRPr lang="pl-PL" sz="10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22000">
                <a:tc>
                  <a:txBody>
                    <a:bodyPr/>
                    <a:lstStyle/>
                    <a:p>
                      <a:pPr algn="l"/>
                      <a:r>
                        <a:rPr lang="pl-PL" sz="10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zkolenie dla LGD z ochrony danych osobowych i projektów współpracy </a:t>
                      </a:r>
                      <a:endParaRPr lang="pl-PL" sz="10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22000">
                <a:tc>
                  <a:txBody>
                    <a:bodyPr/>
                    <a:lstStyle/>
                    <a:p>
                      <a:pPr algn="l"/>
                      <a:r>
                        <a:rPr lang="pl-PL" sz="10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zkolenie z monitoringu i ewaluacji LSR </a:t>
                      </a:r>
                      <a:endParaRPr lang="pl-PL" sz="10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6202903"/>
              </p:ext>
            </p:extLst>
          </p:nvPr>
        </p:nvGraphicFramePr>
        <p:xfrm>
          <a:off x="971600" y="1766435"/>
          <a:ext cx="3384376" cy="292925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38437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448869">
                <a:tc>
                  <a:txBody>
                    <a:bodyPr/>
                    <a:lstStyle/>
                    <a:p>
                      <a:pPr algn="ctr"/>
                      <a:r>
                        <a:rPr lang="pl-PL" sz="1600" dirty="0" smtClean="0"/>
                        <a:t>Operacje partnerskie</a:t>
                      </a:r>
                      <a:endParaRPr lang="pl-PL" sz="1600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44935"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Organizacja i realizacja wizyty studyjnej na terenie Warmii i Mazur dla mieszkańców LGD "Podkowa", szansą rozwoju przedsiębiorczości obszarów wiejskich </a:t>
                      </a:r>
                      <a:endParaRPr lang="pl-PL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93564"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Wizyta studyjna dla mieszkańców LGD "Podkowa" w Krajnie Złotowskiej</a:t>
                      </a:r>
                      <a:endParaRPr lang="pl-PL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94159"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Promocja i upowszechnianie walorów wsi</a:t>
                      </a:r>
                      <a:endParaRPr lang="pl-PL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01597">
                <a:tc>
                  <a:txBody>
                    <a:bodyPr/>
                    <a:lstStyle/>
                    <a:p>
                      <a:r>
                        <a:rPr lang="pl-PL" sz="1000" dirty="0" smtClean="0">
                          <a:solidFill>
                            <a:schemeClr val="tx1"/>
                          </a:solidFill>
                        </a:rPr>
                        <a:t>Wizyta studyjna dla pracowników i członków lokalnych grup działania z terenu woj. łódzkiego do LGD Partnerstwo Ducha Gór</a:t>
                      </a:r>
                      <a:endParaRPr lang="pl-PL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39748">
                <a:tc>
                  <a:txBody>
                    <a:bodyPr/>
                    <a:lstStyle/>
                    <a:p>
                      <a:r>
                        <a:rPr lang="pl-PL" sz="1000" dirty="0" smtClean="0">
                          <a:solidFill>
                            <a:schemeClr val="tx1"/>
                          </a:solidFill>
                        </a:rPr>
                        <a:t>Wymiana dobrych praktyk pomiędzy mieszkańcami LGD „Podkowa” a LGD „Zielone Bieszczady” – wizyta studyjna</a:t>
                      </a:r>
                      <a:endParaRPr lang="pl-PL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12685400"/>
      </p:ext>
    </p:extLst>
  </p:cSld>
  <p:clrMapOvr>
    <a:masterClrMapping/>
  </p:clrMapOvr>
  <p:transition spd="slow">
    <p:split orient="vert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</a:p>
        </p:txBody>
      </p:sp>
      <p:sp>
        <p:nvSpPr>
          <p:cNvPr id="43" name="pole tekstowe 42"/>
          <p:cNvSpPr txBox="1">
            <a:spLocks noChangeArrowheads="1"/>
          </p:cNvSpPr>
          <p:nvPr/>
        </p:nvSpPr>
        <p:spPr bwMode="auto">
          <a:xfrm>
            <a:off x="755575" y="476672"/>
            <a:ext cx="745802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lan</a:t>
            </a:r>
            <a:r>
              <a:rPr kumimoji="0" lang="pl-PL" altLang="pl-PL" sz="28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operacyjny na lata 2018-2019</a:t>
            </a:r>
            <a:endParaRPr kumimoji="0" lang="pl-PL" altLang="pl-PL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aphicFrame>
        <p:nvGraphicFramePr>
          <p:cNvPr id="7" name="Obiek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02289605"/>
              </p:ext>
            </p:extLst>
          </p:nvPr>
        </p:nvGraphicFramePr>
        <p:xfrm>
          <a:off x="1172268" y="1196752"/>
          <a:ext cx="6624637" cy="4283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Arkusz" r:id="rId6" imgW="10696715" imgH="6048375" progId="Excel.Sheet.12">
                  <p:embed/>
                </p:oleObj>
              </mc:Choice>
              <mc:Fallback>
                <p:oleObj name="Arkusz" r:id="rId6" imgW="10696715" imgH="6048375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72268" y="1196752"/>
                        <a:ext cx="6624637" cy="42830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2912674794"/>
      </p:ext>
    </p:extLst>
  </p:cSld>
  <p:clrMapOvr>
    <a:masterClrMapping/>
  </p:clrMapOvr>
  <p:transition spd="slow">
    <p:split orient="vert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988" y="145216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</a:p>
        </p:txBody>
      </p:sp>
      <p:sp>
        <p:nvSpPr>
          <p:cNvPr id="43" name="pole tekstowe 42"/>
          <p:cNvSpPr txBox="1">
            <a:spLocks noChangeArrowheads="1"/>
          </p:cNvSpPr>
          <p:nvPr/>
        </p:nvSpPr>
        <p:spPr bwMode="auto">
          <a:xfrm>
            <a:off x="714374" y="476672"/>
            <a:ext cx="745802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lan operacyjny</a:t>
            </a:r>
            <a:r>
              <a:rPr kumimoji="0" lang="pl-PL" altLang="pl-PL" sz="32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na lata 2018-2019</a:t>
            </a:r>
          </a:p>
        </p:txBody>
      </p:sp>
      <p:sp>
        <p:nvSpPr>
          <p:cNvPr id="2" name="pole tekstowe 1"/>
          <p:cNvSpPr txBox="1"/>
          <p:nvPr/>
        </p:nvSpPr>
        <p:spPr>
          <a:xfrm>
            <a:off x="611560" y="1327197"/>
            <a:ext cx="7746058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600" b="1" dirty="0"/>
              <a:t>Projekty własne </a:t>
            </a:r>
            <a:r>
              <a:rPr lang="pl-PL" sz="1600" dirty="0"/>
              <a:t>planowane do realizacji we współpracy z LGD w 2019 r.:</a:t>
            </a:r>
          </a:p>
          <a:p>
            <a:endParaRPr lang="pl-PL" sz="1600" dirty="0"/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pl-PL" sz="1600" b="1" i="1" dirty="0"/>
              <a:t>Dobre praktyki w rolnictwie, a ochrona przyrody </a:t>
            </a:r>
            <a:r>
              <a:rPr lang="pl-PL" sz="1600" dirty="0"/>
              <a:t>– projekt zakłada organizację 8 wyjazdów studyjnych oraz 2 konferencji na temat ochrony bioróżnorodności na obszarach wiejskich i promocji dobrych praktyk w zakresie drobnego przetwórstwa na bazie produktów lokalnych;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pl-PL" sz="1600" b="1" i="1" dirty="0"/>
              <a:t>Promocja produktów tradycyjnych, lokalnych, ekologicznych województwa łódzkiego – </a:t>
            </a:r>
            <a:r>
              <a:rPr lang="pl-PL" sz="1600" dirty="0" smtClean="0"/>
              <a:t>celem projektu jest wsparcie </a:t>
            </a:r>
            <a:r>
              <a:rPr lang="pl-PL" sz="1600" dirty="0"/>
              <a:t>drobnego przetwórstwa </a:t>
            </a:r>
            <a:r>
              <a:rPr lang="pl-PL" sz="1600" dirty="0" smtClean="0"/>
              <a:t>w województwie łódzkim oraz popularyzacja produktów lokalnych wśród </a:t>
            </a:r>
            <a:r>
              <a:rPr lang="pl-PL" sz="1600" dirty="0"/>
              <a:t>mieszkańców regionu łódzkiego. </a:t>
            </a:r>
            <a:endParaRPr lang="pl-PL" sz="1600" dirty="0" smtClean="0"/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pl-PL" sz="1600" b="1" i="1" dirty="0" smtClean="0"/>
              <a:t>Organizacja spotkania dla lokalnych grup działania – </a:t>
            </a:r>
            <a:r>
              <a:rPr lang="pl-PL" sz="1600" dirty="0" smtClean="0"/>
              <a:t>spotkanie mające na celu wymianę doświadczeń oraz omówienie wyzwań dotyczących funkcjonowania LGD w województwie łódzkim.</a:t>
            </a:r>
            <a:endParaRPr lang="pl-PL" sz="16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1663734"/>
      </p:ext>
    </p:extLst>
  </p:cSld>
  <p:clrMapOvr>
    <a:masterClrMapping/>
  </p:clrMapOvr>
  <p:transition spd="slow">
    <p:split orient="vert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</a:p>
        </p:txBody>
      </p:sp>
      <p:sp>
        <p:nvSpPr>
          <p:cNvPr id="43" name="pole tekstowe 42"/>
          <p:cNvSpPr txBox="1">
            <a:spLocks noChangeArrowheads="1"/>
          </p:cNvSpPr>
          <p:nvPr/>
        </p:nvSpPr>
        <p:spPr bwMode="auto">
          <a:xfrm>
            <a:off x="723102" y="476671"/>
            <a:ext cx="745802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Nabór nr 3/2019</a:t>
            </a:r>
            <a:r>
              <a:rPr kumimoji="0" lang="pl-PL" altLang="pl-PL" sz="32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dla Partnerów </a:t>
            </a:r>
            <a:r>
              <a:rPr kumimoji="0" lang="pl-PL" altLang="pl-PL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KSOW </a:t>
            </a:r>
          </a:p>
        </p:txBody>
      </p:sp>
      <p:sp>
        <p:nvSpPr>
          <p:cNvPr id="32" name="Prostokąt 31"/>
          <p:cNvSpPr/>
          <p:nvPr/>
        </p:nvSpPr>
        <p:spPr>
          <a:xfrm>
            <a:off x="381869" y="1196752"/>
            <a:ext cx="8411994" cy="1350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 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amach</a:t>
            </a:r>
            <a:r>
              <a:rPr kumimoji="0" lang="pl-PL" sz="11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tegorocznego naboru wniosków składanych przez Partnerów Sieci do Jednostki </a:t>
            </a:r>
            <a:r>
              <a:rPr kumimoji="0" lang="pl-PL" sz="11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egionalnej </a:t>
            </a:r>
            <a:r>
              <a:rPr kumimoji="0" lang="pl-PL" sz="11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KSOW wpłynęły </a:t>
            </a:r>
            <a:r>
              <a:rPr kumimoji="0" lang="pl-PL" sz="11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4 wnioski </a:t>
            </a:r>
            <a:r>
              <a:rPr kumimoji="0" lang="pl-PL" sz="11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 wybór operacji</a:t>
            </a:r>
            <a:r>
              <a:rPr lang="pl-PL" sz="1100" dirty="0">
                <a:solidFill>
                  <a:srgbClr val="000000"/>
                </a:solidFill>
              </a:rPr>
              <a:t>. Jeden ze złożonych wniosków został pozostawiony bez rozpatrzenia ze względu na złożenie go po terminie przewidzianym w ogłoszeniu o naborze. Jeden wniosek został przesłany do </a:t>
            </a:r>
            <a:r>
              <a:rPr lang="pl-PL" sz="1100" dirty="0"/>
              <a:t>Mazowieckiego Ośrodek Doradztwa Rolniczego ponieważ złożony został do niewłaściwej jednostki. </a:t>
            </a:r>
          </a:p>
          <a:p>
            <a:pPr marL="0" marR="0" lvl="0" indent="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4751690"/>
              </p:ext>
            </p:extLst>
          </p:nvPr>
        </p:nvGraphicFramePr>
        <p:xfrm>
          <a:off x="381869" y="2547571"/>
          <a:ext cx="8326303" cy="272563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5768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22831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5626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6623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31780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478070"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Nr działania</a:t>
                      </a:r>
                      <a:endParaRPr lang="pl-PL" sz="8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Nazwa</a:t>
                      </a:r>
                      <a:r>
                        <a:rPr lang="pl-PL" sz="800" baseline="0" dirty="0"/>
                        <a:t> działania</a:t>
                      </a:r>
                      <a:endParaRPr lang="pl-PL" sz="8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>
                          <a:latin typeface="+mn-lt"/>
                        </a:rPr>
                        <a:t>Limit środków dla UMWŁ (w zł)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Liczba złożonych wniosków</a:t>
                      </a:r>
                      <a:endParaRPr lang="pl-PL" sz="8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Kwota (w</a:t>
                      </a:r>
                      <a:r>
                        <a:rPr lang="pl-PL" sz="800" baseline="0" dirty="0"/>
                        <a:t> zł)</a:t>
                      </a:r>
                      <a:endParaRPr lang="pl-PL" sz="8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54240">
                <a:tc>
                  <a:txBody>
                    <a:bodyPr/>
                    <a:lstStyle/>
                    <a:p>
                      <a:pPr algn="ctr"/>
                      <a:r>
                        <a:rPr lang="pl-PL" sz="900" dirty="0"/>
                        <a:t>3</a:t>
                      </a:r>
                      <a:endParaRPr lang="pl-PL" sz="9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pl-PL" sz="900" dirty="0"/>
                        <a:t>Gromadzenie przykładów operacji realizujących poszczególne priorytety Programu.</a:t>
                      </a:r>
                      <a:endParaRPr lang="pl-PL" sz="9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900" dirty="0">
                          <a:latin typeface="+mn-lt"/>
                        </a:rPr>
                        <a:t>20 000,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900" dirty="0"/>
                        <a:t>0</a:t>
                      </a:r>
                      <a:endParaRPr lang="pl-PL" sz="9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900" dirty="0"/>
                        <a:t>0,00</a:t>
                      </a:r>
                      <a:endParaRPr lang="pl-PL" sz="90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87079">
                <a:tc>
                  <a:txBody>
                    <a:bodyPr/>
                    <a:lstStyle/>
                    <a:p>
                      <a:pPr algn="ctr"/>
                      <a:r>
                        <a:rPr lang="pl-PL" sz="900" dirty="0"/>
                        <a:t>4</a:t>
                      </a:r>
                      <a:endParaRPr lang="pl-PL" sz="9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pl-PL" sz="900" dirty="0"/>
                        <a:t>Szkolenia i działania na rzecz tworzenia sieci kontaktów dla Lokalnych Grup Działania (LGD), w tym zapewnianie pomocy technicznej w zakresie współpracy </a:t>
                      </a:r>
                      <a:r>
                        <a:rPr lang="pl-PL" sz="900" dirty="0" err="1"/>
                        <a:t>międzyterytorialnej</a:t>
                      </a:r>
                      <a:r>
                        <a:rPr lang="pl-PL" sz="900" dirty="0"/>
                        <a:t> i międzynarodowej.</a:t>
                      </a:r>
                      <a:endParaRPr lang="pl-PL" sz="9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900" dirty="0">
                          <a:latin typeface="+mn-lt"/>
                        </a:rPr>
                        <a:t>60 000,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900" dirty="0"/>
                        <a:t>1</a:t>
                      </a:r>
                      <a:endParaRPr lang="pl-PL" sz="9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900" dirty="0"/>
                        <a:t>39 986,00</a:t>
                      </a:r>
                      <a:endParaRPr lang="pl-PL" sz="90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87079">
                <a:tc>
                  <a:txBody>
                    <a:bodyPr/>
                    <a:lstStyle/>
                    <a:p>
                      <a:pPr algn="ctr"/>
                      <a:r>
                        <a:rPr lang="pl-PL" sz="900" dirty="0"/>
                        <a:t>6</a:t>
                      </a:r>
                      <a:endParaRPr lang="pl-PL" sz="9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pl-PL" sz="900" dirty="0"/>
                        <a:t>Ułatwianie wymiany wiedzy pomiędzy podmiotami uczestniczącymi w rozwoju obszarów wiejskich oraz wymiana i rozpowszechnianie rezultatów działań na rzecz tego rozwoju.</a:t>
                      </a:r>
                      <a:endParaRPr lang="pl-PL" sz="9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900" dirty="0">
                          <a:latin typeface="+mn-lt"/>
                        </a:rPr>
                        <a:t>600 000,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900" dirty="0"/>
                        <a:t>18</a:t>
                      </a:r>
                      <a:endParaRPr lang="pl-PL" sz="9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900" dirty="0"/>
                        <a:t>1 040 318,62</a:t>
                      </a:r>
                      <a:endParaRPr lang="pl-PL" sz="90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3040">
                <a:tc>
                  <a:txBody>
                    <a:bodyPr/>
                    <a:lstStyle/>
                    <a:p>
                      <a:pPr algn="ctr"/>
                      <a:r>
                        <a:rPr lang="pl-PL" sz="900" dirty="0"/>
                        <a:t>9</a:t>
                      </a:r>
                      <a:endParaRPr lang="pl-PL" sz="9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pl-PL" sz="900" dirty="0"/>
                        <a:t>Promocja współpracy w sektorze rolnym i realizacji przez rolników wspólnych inwestycji.</a:t>
                      </a:r>
                      <a:endParaRPr lang="pl-PL" sz="9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900" dirty="0">
                          <a:latin typeface="+mn-lt"/>
                        </a:rPr>
                        <a:t>420 000,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900" dirty="0"/>
                        <a:t>3</a:t>
                      </a:r>
                      <a:endParaRPr lang="pl-PL" sz="9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900" dirty="0"/>
                        <a:t>268 891,58</a:t>
                      </a:r>
                      <a:endParaRPr lang="pl-PL" sz="90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84788">
                <a:tc>
                  <a:txBody>
                    <a:bodyPr/>
                    <a:lstStyle/>
                    <a:p>
                      <a:pPr algn="ctr"/>
                      <a:r>
                        <a:rPr lang="pl-PL" sz="900" b="1" dirty="0"/>
                        <a:t>SUMA (w zł) na działania 3, 4, 6 i 9</a:t>
                      </a:r>
                      <a:endParaRPr lang="pl-PL" sz="9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pl-PL" sz="9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900" b="1" dirty="0">
                          <a:latin typeface="+mn-lt"/>
                        </a:rPr>
                        <a:t>1 100 000,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900" b="1" dirty="0"/>
                        <a:t>22</a:t>
                      </a:r>
                      <a:endParaRPr lang="pl-PL" sz="9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900" b="1" dirty="0"/>
                        <a:t>1 349 196,20</a:t>
                      </a:r>
                      <a:endParaRPr lang="pl-PL" sz="900" b="1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70580156"/>
      </p:ext>
    </p:extLst>
  </p:cSld>
  <p:clrMapOvr>
    <a:masterClrMapping/>
  </p:clrMapOvr>
  <p:transition spd="slow">
    <p:split orient="vert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</a:p>
        </p:txBody>
      </p:sp>
      <p:sp>
        <p:nvSpPr>
          <p:cNvPr id="43" name="pole tekstowe 42"/>
          <p:cNvSpPr txBox="1">
            <a:spLocks noChangeArrowheads="1"/>
          </p:cNvSpPr>
          <p:nvPr/>
        </p:nvSpPr>
        <p:spPr bwMode="auto">
          <a:xfrm>
            <a:off x="723102" y="476671"/>
            <a:ext cx="745802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Nabór nr 3/2019</a:t>
            </a:r>
            <a:r>
              <a:rPr kumimoji="0" lang="pl-PL" altLang="pl-PL" sz="32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dla Partnerów </a:t>
            </a:r>
            <a:r>
              <a:rPr kumimoji="0" lang="pl-PL" altLang="pl-PL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KSOW </a:t>
            </a:r>
          </a:p>
        </p:txBody>
      </p:sp>
      <p:sp>
        <p:nvSpPr>
          <p:cNvPr id="32" name="Prostokąt 31"/>
          <p:cNvSpPr/>
          <p:nvPr/>
        </p:nvSpPr>
        <p:spPr>
          <a:xfrm>
            <a:off x="401950" y="980728"/>
            <a:ext cx="841199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 ramach</a:t>
            </a:r>
            <a:r>
              <a:rPr kumimoji="0" lang="pl-PL" sz="12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tegorocznego naboru wniosków składanych przez Partnerów Sieci do Jednostki </a:t>
            </a:r>
            <a:r>
              <a:rPr kumimoji="0" lang="pl-PL" sz="12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egionalnej </a:t>
            </a:r>
            <a:r>
              <a:rPr kumimoji="0" lang="pl-PL" sz="12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KSOW </a:t>
            </a:r>
            <a:r>
              <a:rPr kumimoji="0" lang="pl-PL" sz="12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</a:rPr>
              <a:t>Lokalne </a:t>
            </a:r>
            <a:r>
              <a:rPr kumimoji="0" lang="pl-PL" sz="12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</a:rPr>
              <a:t>Grupy Działania złożyły </a:t>
            </a:r>
            <a:r>
              <a:rPr kumimoji="0" lang="pl-PL" sz="12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</a:rPr>
              <a:t>8 wniosków </a:t>
            </a:r>
            <a:r>
              <a:rPr kumimoji="0" lang="pl-PL" sz="12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</a:rPr>
              <a:t>w tym 1 wniosek złożyła Łódzka Sieć </a:t>
            </a:r>
            <a:r>
              <a:rPr kumimoji="0" lang="pl-PL" sz="12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</a:rPr>
              <a:t>LGD. Lokalne Grupy </a:t>
            </a:r>
            <a:r>
              <a:rPr kumimoji="0" lang="pl-PL" sz="12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</a:rPr>
              <a:t>Działania</a:t>
            </a:r>
            <a:br>
              <a:rPr kumimoji="0" lang="pl-PL" sz="12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</a:rPr>
            </a:br>
            <a:r>
              <a:rPr kumimoji="0" lang="pl-PL" sz="12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</a:rPr>
              <a:t>w </a:t>
            </a:r>
            <a:r>
              <a:rPr kumimoji="0" lang="pl-PL" sz="12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</a:rPr>
              <a:t>konkursie 3/2019 złożyły wnioski na </a:t>
            </a:r>
            <a:r>
              <a:rPr kumimoji="0" lang="pl-PL" sz="12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</a:rPr>
              <a:t>łączną kwotę </a:t>
            </a:r>
            <a:r>
              <a:rPr kumimoji="0" lang="pl-PL" sz="12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</a:rPr>
              <a:t>239 619,53 zł. </a:t>
            </a:r>
            <a:endParaRPr kumimoji="0" lang="pl-PL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L="0" marR="0" lvl="0" indent="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1933168"/>
              </p:ext>
            </p:extLst>
          </p:nvPr>
        </p:nvGraphicFramePr>
        <p:xfrm>
          <a:off x="444793" y="1896957"/>
          <a:ext cx="8231664" cy="362027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95925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3976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9685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6409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79915">
                <a:tc>
                  <a:txBody>
                    <a:bodyPr/>
                    <a:lstStyle/>
                    <a:p>
                      <a:pPr algn="ctr"/>
                      <a:r>
                        <a:rPr lang="pl-PL" sz="9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r działania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9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tner KSOW</a:t>
                      </a:r>
                      <a:endParaRPr lang="pl-PL" sz="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9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ytuł operacji</a:t>
                      </a:r>
                      <a:endParaRPr lang="pl-PL" sz="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nioskowana</a:t>
                      </a:r>
                      <a:r>
                        <a:rPr lang="pl-PL" sz="8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Kwota</a:t>
                      </a:r>
                      <a:r>
                        <a:rPr lang="pl-PL" sz="8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pl-PL" sz="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w</a:t>
                      </a:r>
                      <a:r>
                        <a:rPr lang="pl-PL" sz="8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zł</a:t>
                      </a:r>
                      <a:r>
                        <a:rPr lang="pl-PL" sz="9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pl-PL" sz="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86266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ziałanie 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GD "Ziemia Łowicka"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dukcja i sprzedaż ekologicznej żywności - praktyczne aspekty działalności"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 9 507,74 zł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3814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ziałanie 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ybacka LGD "Z Ikrą"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dycja i nowoczesność - moja przyszłość na wsi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29 820,00 zł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ziałanie 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GD "BUD-UJ RAZEM"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kademia Lokalnych Liderów - cykl szkoleń dla Kół Gospodyń Wiejskich oraz Ochotniczych Straży Pożarnych z terenu LGD "BUD-UJ RAZEM"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58 872,00 zł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ziałanie 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Łódzka Sieć LG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yjazd studyjny dla pracowników i członków Łódzkiej Sieci LGD na obszarze Stowarzyszenia "Lokalna Grupa Działania - Tygiel Doliny Bugu"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39 986,00 zł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ziałanie 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GD "STER"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mocja rolniczego handlu detalicznego jako nowego nurtu biznesowego dla woj. łódzkieg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13 863,00 zł </a:t>
                      </a:r>
                    </a:p>
                  </a:txBody>
                  <a:tcPr marL="0" marR="0" marT="0" marB="0" anchor="ctr"/>
                </a:tc>
              </a:tr>
              <a:tr h="432048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ziałanie 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GD "Podkowa"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ymiana dobrych praktyk pomiędzy mieszkańcami LGD "Podkowa" a Stowarzyszeniem "Lokalna Grupa Działania - Tygiel Doliny Bugu"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36 725,00 zł </a:t>
                      </a:r>
                    </a:p>
                  </a:txBody>
                  <a:tcPr marL="0" marR="0" marT="0" marB="0" anchor="ctr"/>
                </a:tc>
              </a:tr>
              <a:tr h="432048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ziałanie 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GD "Kraina Rawki"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ganizacja spotkań edukacyjnych na temat bioróżnorodności na obszarach wiejskich oraz poznanie dobrych praktyk małego przetwórstwa lokalneg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24 395,85 zł </a:t>
                      </a:r>
                    </a:p>
                  </a:txBody>
                  <a:tcPr marL="0" marR="0" marT="0" marB="0" anchor="ctr"/>
                </a:tc>
              </a:tr>
              <a:tr h="504056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ziałanie 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owarzyszenie Na Rzecz Rozwoju Społeczności Lokalnej "Mroga"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dukty lokalne - smacznie i w zgodzie z tradycją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24 000,00 zł </a:t>
                      </a: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89273453"/>
      </p:ext>
    </p:extLst>
  </p:cSld>
  <p:clrMapOvr>
    <a:masterClrMapping/>
  </p:clrMapOvr>
  <p:transition spd="slow">
    <p:split orient="vert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heme/theme1.xml><?xml version="1.0" encoding="utf-8"?>
<a:theme xmlns:a="http://schemas.openxmlformats.org/drawingml/2006/main" name="początk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2_czerwony">
  <a:themeElements>
    <a:clrScheme name="12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2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2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3_czerwony">
  <a:themeElements>
    <a:clrScheme name="13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3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3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4_czerwony">
  <a:themeElements>
    <a:clrScheme name="14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4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4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5_czerwony">
  <a:themeElements>
    <a:clrScheme name="15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5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5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6_czerwony">
  <a:themeElements>
    <a:clrScheme name="16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6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6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7_czerwony">
  <a:themeElements>
    <a:clrScheme name="17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7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7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8_czerwony">
  <a:themeElements>
    <a:clrScheme name="18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8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8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9_czerwony">
  <a:themeElements>
    <a:clrScheme name="19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9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pomarańcz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1_pomarańcz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zerw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żółt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1_żółt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róż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1_róż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granat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1_granat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turkus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1_turkus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końc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1_końc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czerw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0.xml><?xml version="1.0" encoding="utf-8"?>
<a:theme xmlns:a="http://schemas.openxmlformats.org/drawingml/2006/main" name="21_czerwony">
  <a:themeElements>
    <a:clrScheme name="21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1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1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22_czerwony">
  <a:themeElements>
    <a:clrScheme name="22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2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2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2.xml><?xml version="1.0" encoding="utf-8"?>
<a:theme xmlns:a="http://schemas.openxmlformats.org/drawingml/2006/main" name="23_czerwony">
  <a:themeElements>
    <a:clrScheme name="23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3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3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3.xml><?xml version="1.0" encoding="utf-8"?>
<a:theme xmlns:a="http://schemas.openxmlformats.org/drawingml/2006/main" name="24_czerwony">
  <a:themeElements>
    <a:clrScheme name="24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4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4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4.xml><?xml version="1.0" encoding="utf-8"?>
<a:theme xmlns:a="http://schemas.openxmlformats.org/drawingml/2006/main" name="25_czerwony">
  <a:themeElements>
    <a:clrScheme name="25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5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5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5.xml><?xml version="1.0" encoding="utf-8"?>
<a:theme xmlns:a="http://schemas.openxmlformats.org/drawingml/2006/main" name="20_czerwony">
  <a:themeElements>
    <a:clrScheme name="20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0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0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6.xml><?xml version="1.0" encoding="utf-8"?>
<a:theme xmlns:a="http://schemas.openxmlformats.org/drawingml/2006/main" name="26_czerwony">
  <a:themeElements>
    <a:clrScheme name="26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6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6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7.xml><?xml version="1.0" encoding="utf-8"?>
<a:theme xmlns:a="http://schemas.openxmlformats.org/drawingml/2006/main" name="27_czerwony">
  <a:themeElements>
    <a:clrScheme name="27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7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7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8.xml><?xml version="1.0" encoding="utf-8"?>
<a:theme xmlns:a="http://schemas.openxmlformats.org/drawingml/2006/main" name="3_zielony">
  <a:themeElements>
    <a:clrScheme name="3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3_ziel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9.xml><?xml version="1.0" encoding="utf-8"?>
<a:theme xmlns:a="http://schemas.openxmlformats.org/drawingml/2006/main" name="4_zielony">
  <a:themeElements>
    <a:clrScheme name="4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4_ziel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6_czerwony">
  <a:themeElements>
    <a:clrScheme name="6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6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6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0.xml><?xml version="1.0" encoding="utf-8"?>
<a:theme xmlns:a="http://schemas.openxmlformats.org/drawingml/2006/main" name="5_zielony">
  <a:themeElements>
    <a:clrScheme name="5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5_ziel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5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1.xml><?xml version="1.0" encoding="utf-8"?>
<a:theme xmlns:a="http://schemas.openxmlformats.org/drawingml/2006/main" name="6_zielony">
  <a:themeElements>
    <a:clrScheme name="6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6_ziel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6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2.xml><?xml version="1.0" encoding="utf-8"?>
<a:theme xmlns:a="http://schemas.openxmlformats.org/drawingml/2006/main" name="Projekt domyślny">
  <a:themeElements>
    <a:clrScheme name="Projekt domyślny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ojekt domyśln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ojekt domyślny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3.xml><?xml version="1.0" encoding="utf-8"?>
<a:theme xmlns:a="http://schemas.openxmlformats.org/drawingml/2006/main" name="7_ziel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7_zielony">
      <a:majorFont>
        <a:latin typeface="Arial"/>
        <a:ea typeface=""/>
        <a:cs typeface="Arial"/>
      </a:majorFont>
      <a:minorFont>
        <a:latin typeface="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4.xml><?xml version="1.0" encoding="utf-8"?>
<a:theme xmlns:a="http://schemas.openxmlformats.org/drawingml/2006/main" name="28_czerw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8_czerwony">
      <a:majorFont>
        <a:latin typeface="Arial"/>
        <a:ea typeface=""/>
        <a:cs typeface="Arial"/>
      </a:majorFont>
      <a:minorFont>
        <a:latin typeface="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5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6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7_czerwony">
  <a:themeElements>
    <a:clrScheme name="7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7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7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8_czerwony">
  <a:themeElements>
    <a:clrScheme name="8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8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9_czerwony">
  <a:themeElements>
    <a:clrScheme name="9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9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9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0_czerwony">
  <a:themeElements>
    <a:clrScheme name="10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0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1_czerwony">
  <a:themeElements>
    <a:clrScheme name="11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1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1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23</TotalTime>
  <Words>1719</Words>
  <Application>Microsoft Office PowerPoint</Application>
  <PresentationFormat>Pokaz na ekranie (4:3)</PresentationFormat>
  <Paragraphs>215</Paragraphs>
  <Slides>13</Slides>
  <Notes>1</Notes>
  <HiddenSlides>0</HiddenSlides>
  <MMClips>0</MMClips>
  <ScaleCrop>false</ScaleCrop>
  <HeadingPairs>
    <vt:vector size="6" baseType="variant">
      <vt:variant>
        <vt:lpstr>Motyw</vt:lpstr>
      </vt:variant>
      <vt:variant>
        <vt:i4>44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3</vt:i4>
      </vt:variant>
    </vt:vector>
  </HeadingPairs>
  <TitlesOfParts>
    <vt:vector size="58" baseType="lpstr">
      <vt:lpstr>początkowy</vt:lpstr>
      <vt:lpstr>1_czerwony</vt:lpstr>
      <vt:lpstr>3_czerwony</vt:lpstr>
      <vt:lpstr>6_czerwony</vt:lpstr>
      <vt:lpstr>7_czerwony</vt:lpstr>
      <vt:lpstr>8_czerwony</vt:lpstr>
      <vt:lpstr>9_czerwony</vt:lpstr>
      <vt:lpstr>10_czerwony</vt:lpstr>
      <vt:lpstr>11_czerwony</vt:lpstr>
      <vt:lpstr>12_czerwony</vt:lpstr>
      <vt:lpstr>13_czerwony</vt:lpstr>
      <vt:lpstr>14_czerwony</vt:lpstr>
      <vt:lpstr>15_czerwony</vt:lpstr>
      <vt:lpstr>16_czerwony</vt:lpstr>
      <vt:lpstr>17_czerwony</vt:lpstr>
      <vt:lpstr>18_czerwony</vt:lpstr>
      <vt:lpstr>19_czerwony</vt:lpstr>
      <vt:lpstr>pomarańczowy</vt:lpstr>
      <vt:lpstr>1_pomarańczowy</vt:lpstr>
      <vt:lpstr>żółty</vt:lpstr>
      <vt:lpstr>1_żółty</vt:lpstr>
      <vt:lpstr>różowy</vt:lpstr>
      <vt:lpstr>1_różowy</vt:lpstr>
      <vt:lpstr>granatowy</vt:lpstr>
      <vt:lpstr>1_granatowy</vt:lpstr>
      <vt:lpstr>turkusowy</vt:lpstr>
      <vt:lpstr>1_turkusowy</vt:lpstr>
      <vt:lpstr>końcowy</vt:lpstr>
      <vt:lpstr>1_końcowy</vt:lpstr>
      <vt:lpstr>21_czerwony</vt:lpstr>
      <vt:lpstr>22_czerwony</vt:lpstr>
      <vt:lpstr>23_czerwony</vt:lpstr>
      <vt:lpstr>24_czerwony</vt:lpstr>
      <vt:lpstr>25_czerwony</vt:lpstr>
      <vt:lpstr>20_czerwony</vt:lpstr>
      <vt:lpstr>26_czerwony</vt:lpstr>
      <vt:lpstr>27_czerwony</vt:lpstr>
      <vt:lpstr>3_zielony</vt:lpstr>
      <vt:lpstr>4_zielony</vt:lpstr>
      <vt:lpstr>5_zielony</vt:lpstr>
      <vt:lpstr>6_zielony</vt:lpstr>
      <vt:lpstr>Projekt domyślny</vt:lpstr>
      <vt:lpstr>7_zielony</vt:lpstr>
      <vt:lpstr>28_czerwony</vt:lpstr>
      <vt:lpstr>Arkusz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Company>TOSHIB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ajd 1</dc:title>
  <dc:creator>Monika Kornacka</dc:creator>
  <cp:lastModifiedBy>Sebastian Szymański</cp:lastModifiedBy>
  <cp:revision>335</cp:revision>
  <cp:lastPrinted>2019-02-07T10:35:13Z</cp:lastPrinted>
  <dcterms:created xsi:type="dcterms:W3CDTF">2013-04-03T19:48:29Z</dcterms:created>
  <dcterms:modified xsi:type="dcterms:W3CDTF">2019-03-28T08:18:27Z</dcterms:modified>
</cp:coreProperties>
</file>